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2.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notesSlides/notesSlide2.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notesSlides/notesSlide3.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85" r:id="rId1"/>
    <p:sldMasterId id="2147485261" r:id="rId2"/>
  </p:sldMasterIdLst>
  <p:notesMasterIdLst>
    <p:notesMasterId r:id="rId13"/>
  </p:notesMasterIdLst>
  <p:handoutMasterIdLst>
    <p:handoutMasterId r:id="rId14"/>
  </p:handoutMasterIdLst>
  <p:sldIdLst>
    <p:sldId id="256" r:id="rId3"/>
    <p:sldId id="2145706524" r:id="rId4"/>
    <p:sldId id="2145706526" r:id="rId5"/>
    <p:sldId id="2145706523" r:id="rId6"/>
    <p:sldId id="266" r:id="rId7"/>
    <p:sldId id="267" r:id="rId8"/>
    <p:sldId id="2145706494" r:id="rId9"/>
    <p:sldId id="269" r:id="rId10"/>
    <p:sldId id="268" r:id="rId11"/>
    <p:sldId id="2145706499"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863DCFF-75DE-42B4-A665-0C3985510031}">
          <p14:sldIdLst>
            <p14:sldId id="256"/>
            <p14:sldId id="2145706524"/>
            <p14:sldId id="2145706526"/>
            <p14:sldId id="2145706523"/>
            <p14:sldId id="266"/>
            <p14:sldId id="267"/>
            <p14:sldId id="2145706494"/>
            <p14:sldId id="269"/>
            <p14:sldId id="268"/>
            <p14:sldId id="2145706499"/>
          </p14:sldIdLst>
        </p14:section>
      </p14:sectionLst>
    </p:ext>
    <p:ext uri="{EFAFB233-063F-42B5-8137-9DF3F51BA10A}">
      <p15:sldGuideLst xmlns:p15="http://schemas.microsoft.com/office/powerpoint/2012/main">
        <p15:guide id="1" orient="horz" pos="2160">
          <p15:clr>
            <a:srgbClr val="A4A3A4"/>
          </p15:clr>
        </p15:guide>
        <p15:guide id="3" pos="176" userDrawn="1">
          <p15:clr>
            <a:srgbClr val="A4A3A4"/>
          </p15:clr>
        </p15:guide>
        <p15:guide id="4" pos="750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ADAD"/>
    <a:srgbClr val="104B7D"/>
    <a:srgbClr val="0C4592"/>
    <a:srgbClr val="28802A"/>
    <a:srgbClr val="EDAE1D"/>
    <a:srgbClr val="9B2525"/>
    <a:srgbClr val="051934"/>
    <a:srgbClr val="193265"/>
    <a:srgbClr val="204184"/>
    <a:srgbClr val="83A2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5741" autoAdjust="0"/>
  </p:normalViewPr>
  <p:slideViewPr>
    <p:cSldViewPr snapToGrid="0">
      <p:cViewPr varScale="1">
        <p:scale>
          <a:sx n="72" d="100"/>
          <a:sy n="72" d="100"/>
        </p:scale>
        <p:origin x="444" y="78"/>
      </p:cViewPr>
      <p:guideLst>
        <p:guide orient="horz" pos="2160"/>
        <p:guide pos="176"/>
        <p:guide pos="7501"/>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3/15/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3/15/2021</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776781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4040333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1181889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8.png"/><Relationship Id="rId2" Type="http://schemas.openxmlformats.org/officeDocument/2006/relationships/tags" Target="../tags/tag168.xml"/><Relationship Id="rId1" Type="http://schemas.openxmlformats.org/officeDocument/2006/relationships/vmlDrawing" Target="../drawings/vmlDrawing102.vml"/><Relationship Id="rId6" Type="http://schemas.openxmlformats.org/officeDocument/2006/relationships/image" Target="../media/image4.emf"/><Relationship Id="rId5" Type="http://schemas.openxmlformats.org/officeDocument/2006/relationships/oleObject" Target="../embeddings/oleObject102.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png"/><Relationship Id="rId2" Type="http://schemas.openxmlformats.org/officeDocument/2006/relationships/tags" Target="../tags/tag170.xml"/><Relationship Id="rId1" Type="http://schemas.openxmlformats.org/officeDocument/2006/relationships/vmlDrawing" Target="../drawings/vmlDrawing103.vml"/><Relationship Id="rId6" Type="http://schemas.openxmlformats.org/officeDocument/2006/relationships/image" Target="../media/image4.emf"/><Relationship Id="rId5" Type="http://schemas.openxmlformats.org/officeDocument/2006/relationships/oleObject" Target="../embeddings/oleObject103.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8.png"/><Relationship Id="rId2" Type="http://schemas.openxmlformats.org/officeDocument/2006/relationships/tags" Target="../tags/tag172.xml"/><Relationship Id="rId1" Type="http://schemas.openxmlformats.org/officeDocument/2006/relationships/vmlDrawing" Target="../drawings/vmlDrawing104.vml"/><Relationship Id="rId6" Type="http://schemas.openxmlformats.org/officeDocument/2006/relationships/image" Target="../media/image4.emf"/><Relationship Id="rId5" Type="http://schemas.openxmlformats.org/officeDocument/2006/relationships/oleObject" Target="../embeddings/oleObject104.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vmlDrawing" Target="../drawings/vmlDrawing105.vml"/><Relationship Id="rId5" Type="http://schemas.openxmlformats.org/officeDocument/2006/relationships/image" Target="../media/image4.emf"/><Relationship Id="rId4" Type="http://schemas.openxmlformats.org/officeDocument/2006/relationships/oleObject" Target="../embeddings/oleObject10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5.xml"/><Relationship Id="rId1" Type="http://schemas.openxmlformats.org/officeDocument/2006/relationships/vmlDrawing" Target="../drawings/vmlDrawing106.vml"/><Relationship Id="rId5" Type="http://schemas.openxmlformats.org/officeDocument/2006/relationships/image" Target="../media/image4.emf"/><Relationship Id="rId4" Type="http://schemas.openxmlformats.org/officeDocument/2006/relationships/oleObject" Target="../embeddings/oleObject106.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vmlDrawing" Target="../drawings/vmlDrawing107.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107.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vmlDrawing" Target="../drawings/vmlDrawing108.vml"/><Relationship Id="rId6" Type="http://schemas.openxmlformats.org/officeDocument/2006/relationships/image" Target="../media/image4.emf"/><Relationship Id="rId5" Type="http://schemas.openxmlformats.org/officeDocument/2006/relationships/oleObject" Target="../embeddings/oleObject108.bin"/><Relationship Id="rId4"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vmlDrawing" Target="../drawings/vmlDrawing109.vml"/><Relationship Id="rId5" Type="http://schemas.openxmlformats.org/officeDocument/2006/relationships/image" Target="../media/image4.emf"/><Relationship Id="rId4" Type="http://schemas.openxmlformats.org/officeDocument/2006/relationships/oleObject" Target="../embeddings/oleObject10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vmlDrawing" Target="../drawings/vmlDrawing110.vml"/><Relationship Id="rId5" Type="http://schemas.openxmlformats.org/officeDocument/2006/relationships/image" Target="../media/image4.emf"/><Relationship Id="rId4" Type="http://schemas.openxmlformats.org/officeDocument/2006/relationships/oleObject" Target="../embeddings/oleObject11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vmlDrawing" Target="../drawings/vmlDrawing111.vml"/><Relationship Id="rId5" Type="http://schemas.openxmlformats.org/officeDocument/2006/relationships/image" Target="../media/image4.emf"/><Relationship Id="rId4" Type="http://schemas.openxmlformats.org/officeDocument/2006/relationships/oleObject" Target="../embeddings/oleObject1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vmlDrawing" Target="../drawings/vmlDrawing11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1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vmlDrawing" Target="../drawings/vmlDrawing113.vml"/><Relationship Id="rId5" Type="http://schemas.openxmlformats.org/officeDocument/2006/relationships/image" Target="../media/image4.emf"/><Relationship Id="rId4" Type="http://schemas.openxmlformats.org/officeDocument/2006/relationships/oleObject" Target="../embeddings/oleObject11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vmlDrawing" Target="../drawings/vmlDrawing11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14.bin"/></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115.vml"/><Relationship Id="rId6" Type="http://schemas.openxmlformats.org/officeDocument/2006/relationships/image" Target="../media/image4.emf"/><Relationship Id="rId5" Type="http://schemas.openxmlformats.org/officeDocument/2006/relationships/oleObject" Target="../embeddings/oleObject115.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vmlDrawing" Target="../drawings/vmlDrawing116.vml"/><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117.vml"/><Relationship Id="rId6" Type="http://schemas.openxmlformats.org/officeDocument/2006/relationships/image" Target="../media/image4.emf"/><Relationship Id="rId5" Type="http://schemas.openxmlformats.org/officeDocument/2006/relationships/oleObject" Target="../embeddings/oleObject117.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vmlDrawing" Target="../drawings/vmlDrawing118.vml"/><Relationship Id="rId5" Type="http://schemas.openxmlformats.org/officeDocument/2006/relationships/image" Target="../media/image4.emf"/><Relationship Id="rId4" Type="http://schemas.openxmlformats.org/officeDocument/2006/relationships/oleObject" Target="../embeddings/oleObject118.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vmlDrawing" Target="../drawings/vmlDrawing119.vml"/><Relationship Id="rId5" Type="http://schemas.openxmlformats.org/officeDocument/2006/relationships/image" Target="../media/image4.emf"/><Relationship Id="rId4" Type="http://schemas.openxmlformats.org/officeDocument/2006/relationships/oleObject" Target="../embeddings/oleObject119.bin"/></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6.png"/><Relationship Id="rId2" Type="http://schemas.openxmlformats.org/officeDocument/2006/relationships/tags" Target="../tags/tag192.xml"/><Relationship Id="rId1" Type="http://schemas.openxmlformats.org/officeDocument/2006/relationships/vmlDrawing" Target="../drawings/vmlDrawing120.vml"/><Relationship Id="rId6" Type="http://schemas.openxmlformats.org/officeDocument/2006/relationships/image" Target="../media/image4.emf"/><Relationship Id="rId5" Type="http://schemas.openxmlformats.org/officeDocument/2006/relationships/oleObject" Target="../embeddings/oleObject120.bin"/><Relationship Id="rId4"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6.png"/><Relationship Id="rId2" Type="http://schemas.openxmlformats.org/officeDocument/2006/relationships/tags" Target="../tags/tag194.xml"/><Relationship Id="rId1" Type="http://schemas.openxmlformats.org/officeDocument/2006/relationships/vmlDrawing" Target="../drawings/vmlDrawing121.vml"/><Relationship Id="rId6" Type="http://schemas.openxmlformats.org/officeDocument/2006/relationships/image" Target="../media/image4.emf"/><Relationship Id="rId5" Type="http://schemas.openxmlformats.org/officeDocument/2006/relationships/oleObject" Target="../embeddings/oleObject12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6.png"/><Relationship Id="rId2" Type="http://schemas.openxmlformats.org/officeDocument/2006/relationships/tags" Target="../tags/tag196.xml"/><Relationship Id="rId1" Type="http://schemas.openxmlformats.org/officeDocument/2006/relationships/vmlDrawing" Target="../drawings/vmlDrawing122.vml"/><Relationship Id="rId6" Type="http://schemas.openxmlformats.org/officeDocument/2006/relationships/image" Target="../media/image4.emf"/><Relationship Id="rId5" Type="http://schemas.openxmlformats.org/officeDocument/2006/relationships/oleObject" Target="../embeddings/oleObject122.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6.png"/><Relationship Id="rId2" Type="http://schemas.openxmlformats.org/officeDocument/2006/relationships/tags" Target="../tags/tag198.xml"/><Relationship Id="rId1" Type="http://schemas.openxmlformats.org/officeDocument/2006/relationships/vmlDrawing" Target="../drawings/vmlDrawing123.vml"/><Relationship Id="rId6" Type="http://schemas.openxmlformats.org/officeDocument/2006/relationships/image" Target="../media/image4.emf"/><Relationship Id="rId5" Type="http://schemas.openxmlformats.org/officeDocument/2006/relationships/oleObject" Target="../embeddings/oleObject123.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6.png"/><Relationship Id="rId2" Type="http://schemas.openxmlformats.org/officeDocument/2006/relationships/tags" Target="../tags/tag200.xml"/><Relationship Id="rId1" Type="http://schemas.openxmlformats.org/officeDocument/2006/relationships/vmlDrawing" Target="../drawings/vmlDrawing124.vml"/><Relationship Id="rId6" Type="http://schemas.openxmlformats.org/officeDocument/2006/relationships/image" Target="../media/image4.emf"/><Relationship Id="rId5" Type="http://schemas.openxmlformats.org/officeDocument/2006/relationships/oleObject" Target="../embeddings/oleObject124.bin"/><Relationship Id="rId4"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6.png"/><Relationship Id="rId2" Type="http://schemas.openxmlformats.org/officeDocument/2006/relationships/tags" Target="../tags/tag202.xml"/><Relationship Id="rId1" Type="http://schemas.openxmlformats.org/officeDocument/2006/relationships/vmlDrawing" Target="../drawings/vmlDrawing125.vml"/><Relationship Id="rId6" Type="http://schemas.openxmlformats.org/officeDocument/2006/relationships/image" Target="../media/image4.emf"/><Relationship Id="rId5" Type="http://schemas.openxmlformats.org/officeDocument/2006/relationships/oleObject" Target="../embeddings/oleObject125.bin"/><Relationship Id="rId4"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7.png"/><Relationship Id="rId2" Type="http://schemas.openxmlformats.org/officeDocument/2006/relationships/tags" Target="../tags/tag204.xml"/><Relationship Id="rId1" Type="http://schemas.openxmlformats.org/officeDocument/2006/relationships/vmlDrawing" Target="../drawings/vmlDrawing126.vml"/><Relationship Id="rId6" Type="http://schemas.openxmlformats.org/officeDocument/2006/relationships/image" Target="../media/image9.emf"/><Relationship Id="rId5" Type="http://schemas.openxmlformats.org/officeDocument/2006/relationships/oleObject" Target="../embeddings/oleObject126.bin"/><Relationship Id="rId4"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8.png"/><Relationship Id="rId2" Type="http://schemas.openxmlformats.org/officeDocument/2006/relationships/tags" Target="../tags/tag206.xml"/><Relationship Id="rId1" Type="http://schemas.openxmlformats.org/officeDocument/2006/relationships/vmlDrawing" Target="../drawings/vmlDrawing127.vml"/><Relationship Id="rId6" Type="http://schemas.openxmlformats.org/officeDocument/2006/relationships/image" Target="../media/image4.emf"/><Relationship Id="rId5" Type="http://schemas.openxmlformats.org/officeDocument/2006/relationships/oleObject" Target="../embeddings/oleObject127.bin"/><Relationship Id="rId4"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0.png"/><Relationship Id="rId2" Type="http://schemas.openxmlformats.org/officeDocument/2006/relationships/tags" Target="../tags/tag208.xml"/><Relationship Id="rId1" Type="http://schemas.openxmlformats.org/officeDocument/2006/relationships/vmlDrawing" Target="../drawings/vmlDrawing128.vml"/><Relationship Id="rId6" Type="http://schemas.openxmlformats.org/officeDocument/2006/relationships/image" Target="../media/image4.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8.png"/><Relationship Id="rId2" Type="http://schemas.openxmlformats.org/officeDocument/2006/relationships/tags" Target="../tags/tag210.xml"/><Relationship Id="rId1" Type="http://schemas.openxmlformats.org/officeDocument/2006/relationships/vmlDrawing" Target="../drawings/vmlDrawing129.vml"/><Relationship Id="rId6" Type="http://schemas.openxmlformats.org/officeDocument/2006/relationships/image" Target="../media/image4.emf"/><Relationship Id="rId5" Type="http://schemas.openxmlformats.org/officeDocument/2006/relationships/oleObject" Target="../embeddings/oleObject129.bin"/><Relationship Id="rId4"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7.png"/><Relationship Id="rId2" Type="http://schemas.openxmlformats.org/officeDocument/2006/relationships/tags" Target="../tags/tag212.xml"/><Relationship Id="rId1" Type="http://schemas.openxmlformats.org/officeDocument/2006/relationships/vmlDrawing" Target="../drawings/vmlDrawing130.vml"/><Relationship Id="rId6" Type="http://schemas.openxmlformats.org/officeDocument/2006/relationships/image" Target="../media/image4.emf"/><Relationship Id="rId5" Type="http://schemas.openxmlformats.org/officeDocument/2006/relationships/oleObject" Target="../embeddings/oleObject130.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8.png"/><Relationship Id="rId2" Type="http://schemas.openxmlformats.org/officeDocument/2006/relationships/tags" Target="../tags/tag214.xml"/><Relationship Id="rId1" Type="http://schemas.openxmlformats.org/officeDocument/2006/relationships/vmlDrawing" Target="../drawings/vmlDrawing131.vml"/><Relationship Id="rId6" Type="http://schemas.openxmlformats.org/officeDocument/2006/relationships/image" Target="../media/image4.emf"/><Relationship Id="rId5" Type="http://schemas.openxmlformats.org/officeDocument/2006/relationships/oleObject" Target="../embeddings/oleObject13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7.png"/><Relationship Id="rId2" Type="http://schemas.openxmlformats.org/officeDocument/2006/relationships/tags" Target="../tags/tag216.xml"/><Relationship Id="rId1" Type="http://schemas.openxmlformats.org/officeDocument/2006/relationships/vmlDrawing" Target="../drawings/vmlDrawing132.vml"/><Relationship Id="rId6" Type="http://schemas.openxmlformats.org/officeDocument/2006/relationships/image" Target="../media/image4.emf"/><Relationship Id="rId5" Type="http://schemas.openxmlformats.org/officeDocument/2006/relationships/oleObject" Target="../embeddings/oleObject132.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8.png"/><Relationship Id="rId2" Type="http://schemas.openxmlformats.org/officeDocument/2006/relationships/tags" Target="../tags/tag218.xml"/><Relationship Id="rId1" Type="http://schemas.openxmlformats.org/officeDocument/2006/relationships/vmlDrawing" Target="../drawings/vmlDrawing133.vml"/><Relationship Id="rId6" Type="http://schemas.openxmlformats.org/officeDocument/2006/relationships/image" Target="../media/image4.emf"/><Relationship Id="rId5" Type="http://schemas.openxmlformats.org/officeDocument/2006/relationships/oleObject" Target="../embeddings/oleObject133.bin"/><Relationship Id="rId4"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vmlDrawing" Target="../drawings/vmlDrawing134.vml"/><Relationship Id="rId5" Type="http://schemas.openxmlformats.org/officeDocument/2006/relationships/image" Target="../media/image4.emf"/><Relationship Id="rId4" Type="http://schemas.openxmlformats.org/officeDocument/2006/relationships/oleObject" Target="../embeddings/oleObject134.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1.xml"/><Relationship Id="rId1" Type="http://schemas.openxmlformats.org/officeDocument/2006/relationships/vmlDrawing" Target="../drawings/vmlDrawing135.vml"/><Relationship Id="rId5" Type="http://schemas.openxmlformats.org/officeDocument/2006/relationships/image" Target="../media/image4.emf"/><Relationship Id="rId4" Type="http://schemas.openxmlformats.org/officeDocument/2006/relationships/oleObject" Target="../embeddings/oleObject135.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2.xml"/><Relationship Id="rId1" Type="http://schemas.openxmlformats.org/officeDocument/2006/relationships/vmlDrawing" Target="../drawings/vmlDrawing136.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136.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137.vml"/><Relationship Id="rId6" Type="http://schemas.openxmlformats.org/officeDocument/2006/relationships/image" Target="../media/image4.emf"/><Relationship Id="rId5" Type="http://schemas.openxmlformats.org/officeDocument/2006/relationships/oleObject" Target="../embeddings/oleObject137.bin"/><Relationship Id="rId4"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5.xml"/><Relationship Id="rId1" Type="http://schemas.openxmlformats.org/officeDocument/2006/relationships/vmlDrawing" Target="../drawings/vmlDrawing138.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38.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vmlDrawing" Target="../drawings/vmlDrawing139.vml"/><Relationship Id="rId5" Type="http://schemas.openxmlformats.org/officeDocument/2006/relationships/image" Target="../media/image4.emf"/><Relationship Id="rId4" Type="http://schemas.openxmlformats.org/officeDocument/2006/relationships/oleObject" Target="../embeddings/oleObject139.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7.xml"/><Relationship Id="rId1" Type="http://schemas.openxmlformats.org/officeDocument/2006/relationships/vmlDrawing" Target="../drawings/vmlDrawing140.vml"/><Relationship Id="rId5" Type="http://schemas.openxmlformats.org/officeDocument/2006/relationships/image" Target="../media/image4.emf"/><Relationship Id="rId4" Type="http://schemas.openxmlformats.org/officeDocument/2006/relationships/oleObject" Target="../embeddings/oleObject140.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vmlDrawing" Target="../drawings/vmlDrawing141.vml"/><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9.xml"/><Relationship Id="rId1" Type="http://schemas.openxmlformats.org/officeDocument/2006/relationships/vmlDrawing" Target="../drawings/vmlDrawing14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42.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vmlDrawing" Target="../drawings/vmlDrawing143.vml"/><Relationship Id="rId5" Type="http://schemas.openxmlformats.org/officeDocument/2006/relationships/image" Target="../media/image4.emf"/><Relationship Id="rId4" Type="http://schemas.openxmlformats.org/officeDocument/2006/relationships/oleObject" Target="../embeddings/oleObject143.bin"/></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144.bin"/><Relationship Id="rId4"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3.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4.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vmlDrawing" Target="../drawings/vmlDrawing14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148.vml"/><Relationship Id="rId6" Type="http://schemas.openxmlformats.org/officeDocument/2006/relationships/image" Target="../media/image1.emf"/><Relationship Id="rId5" Type="http://schemas.openxmlformats.org/officeDocument/2006/relationships/oleObject" Target="../embeddings/oleObject148.bin"/><Relationship Id="rId4"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8.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9.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0.xml"/><Relationship Id="rId1" Type="http://schemas.openxmlformats.org/officeDocument/2006/relationships/vmlDrawing" Target="../drawings/vmlDrawing15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1.xml"/><Relationship Id="rId1" Type="http://schemas.openxmlformats.org/officeDocument/2006/relationships/vmlDrawing" Target="../drawings/vmlDrawing15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0.png"/><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8.png"/><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7.png"/><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8.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40.vml"/><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42.vml"/><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43.vml"/><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7.png"/><Relationship Id="rId2" Type="http://schemas.openxmlformats.org/officeDocument/2006/relationships/tags" Target="../tags/tag84.xml"/><Relationship Id="rId1" Type="http://schemas.openxmlformats.org/officeDocument/2006/relationships/vmlDrawing" Target="../drawings/vmlDrawing50.vml"/><Relationship Id="rId6" Type="http://schemas.openxmlformats.org/officeDocument/2006/relationships/image" Target="../media/image9.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8.png"/><Relationship Id="rId2" Type="http://schemas.openxmlformats.org/officeDocument/2006/relationships/tags" Target="../tags/tag86.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tags" Target="../tags/tag88.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8.png"/><Relationship Id="rId2" Type="http://schemas.openxmlformats.org/officeDocument/2006/relationships/tags" Target="../tags/tag90.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png"/><Relationship Id="rId2" Type="http://schemas.openxmlformats.org/officeDocument/2006/relationships/tags" Target="../tags/tag92.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8.png"/><Relationship Id="rId2" Type="http://schemas.openxmlformats.org/officeDocument/2006/relationships/tags" Target="../tags/tag94.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7.png"/><Relationship Id="rId2" Type="http://schemas.openxmlformats.org/officeDocument/2006/relationships/tags" Target="../tags/tag96.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8.png"/><Relationship Id="rId2" Type="http://schemas.openxmlformats.org/officeDocument/2006/relationships/tags" Target="../tags/tag98.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60.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61.v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62.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63.vml"/><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64.vml"/><Relationship Id="rId5" Type="http://schemas.openxmlformats.org/officeDocument/2006/relationships/image" Target="../media/image4.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65.vml"/><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67.vml"/><Relationship Id="rId5" Type="http://schemas.openxmlformats.org/officeDocument/2006/relationships/image" Target="../media/image4.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7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vmlDrawing" Target="../drawings/vmlDrawing7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vmlDrawing" Target="../drawings/vmlDrawing7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3.png"/><Relationship Id="rId2" Type="http://schemas.openxmlformats.org/officeDocument/2006/relationships/tags" Target="../tags/tag124.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5.png"/><Relationship Id="rId2" Type="http://schemas.openxmlformats.org/officeDocument/2006/relationships/tags" Target="../tags/tag126.xml"/><Relationship Id="rId1" Type="http://schemas.openxmlformats.org/officeDocument/2006/relationships/vmlDrawing" Target="../drawings/vmlDrawing79.vml"/><Relationship Id="rId6" Type="http://schemas.openxmlformats.org/officeDocument/2006/relationships/image" Target="../media/image4.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5.png"/><Relationship Id="rId2" Type="http://schemas.openxmlformats.org/officeDocument/2006/relationships/tags" Target="../tags/tag128.xml"/><Relationship Id="rId1" Type="http://schemas.openxmlformats.org/officeDocument/2006/relationships/vmlDrawing" Target="../drawings/vmlDrawing80.vml"/><Relationship Id="rId6" Type="http://schemas.openxmlformats.org/officeDocument/2006/relationships/image" Target="../media/image4.emf"/><Relationship Id="rId5" Type="http://schemas.openxmlformats.org/officeDocument/2006/relationships/oleObject" Target="../embeddings/oleObject80.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vmlDrawing" Target="../drawings/vmlDrawing8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1.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82.vml"/><Relationship Id="rId6" Type="http://schemas.openxmlformats.org/officeDocument/2006/relationships/image" Target="../media/image4.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5.png"/><Relationship Id="rId2" Type="http://schemas.openxmlformats.org/officeDocument/2006/relationships/tags" Target="../tags/tag133.xml"/><Relationship Id="rId1" Type="http://schemas.openxmlformats.org/officeDocument/2006/relationships/vmlDrawing" Target="../drawings/vmlDrawing83.vml"/><Relationship Id="rId6" Type="http://schemas.openxmlformats.org/officeDocument/2006/relationships/image" Target="../media/image4.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vmlDrawing" Target="../drawings/vmlDrawing8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4.bin"/></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85.vml"/><Relationship Id="rId6" Type="http://schemas.openxmlformats.org/officeDocument/2006/relationships/image" Target="../media/image4.emf"/><Relationship Id="rId5" Type="http://schemas.openxmlformats.org/officeDocument/2006/relationships/oleObject" Target="../embeddings/oleObject85.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86.vml"/><Relationship Id="rId6" Type="http://schemas.openxmlformats.org/officeDocument/2006/relationships/image" Target="../media/image4.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87.vml"/><Relationship Id="rId6" Type="http://schemas.openxmlformats.org/officeDocument/2006/relationships/image" Target="../media/image4.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88.vml"/><Relationship Id="rId6" Type="http://schemas.openxmlformats.org/officeDocument/2006/relationships/image" Target="../media/image4.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89.v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vmlDrawing" Target="../drawings/vmlDrawing90.vml"/><Relationship Id="rId5" Type="http://schemas.openxmlformats.org/officeDocument/2006/relationships/image" Target="../media/image4.emf"/><Relationship Id="rId4" Type="http://schemas.openxmlformats.org/officeDocument/2006/relationships/oleObject" Target="../embeddings/oleObject9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vmlDrawing" Target="../drawings/vmlDrawing91.vml"/><Relationship Id="rId5" Type="http://schemas.openxmlformats.org/officeDocument/2006/relationships/image" Target="../media/image4.emf"/><Relationship Id="rId4" Type="http://schemas.openxmlformats.org/officeDocument/2006/relationships/oleObject" Target="../embeddings/oleObject91.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6.png"/><Relationship Id="rId2" Type="http://schemas.openxmlformats.org/officeDocument/2006/relationships/tags" Target="../tags/tag148.xml"/><Relationship Id="rId1" Type="http://schemas.openxmlformats.org/officeDocument/2006/relationships/vmlDrawing" Target="../drawings/vmlDrawing92.vml"/><Relationship Id="rId6" Type="http://schemas.openxmlformats.org/officeDocument/2006/relationships/image" Target="../media/image4.emf"/><Relationship Id="rId5" Type="http://schemas.openxmlformats.org/officeDocument/2006/relationships/oleObject" Target="../embeddings/oleObject92.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6.png"/><Relationship Id="rId2" Type="http://schemas.openxmlformats.org/officeDocument/2006/relationships/tags" Target="../tags/tag150.xml"/><Relationship Id="rId1" Type="http://schemas.openxmlformats.org/officeDocument/2006/relationships/vmlDrawing" Target="../drawings/vmlDrawing93.vml"/><Relationship Id="rId6" Type="http://schemas.openxmlformats.org/officeDocument/2006/relationships/image" Target="../media/image4.emf"/><Relationship Id="rId5" Type="http://schemas.openxmlformats.org/officeDocument/2006/relationships/oleObject" Target="../embeddings/oleObject93.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6.png"/><Relationship Id="rId2" Type="http://schemas.openxmlformats.org/officeDocument/2006/relationships/tags" Target="../tags/tag152.xml"/><Relationship Id="rId1" Type="http://schemas.openxmlformats.org/officeDocument/2006/relationships/vmlDrawing" Target="../drawings/vmlDrawing94.vml"/><Relationship Id="rId6" Type="http://schemas.openxmlformats.org/officeDocument/2006/relationships/image" Target="../media/image4.emf"/><Relationship Id="rId5" Type="http://schemas.openxmlformats.org/officeDocument/2006/relationships/oleObject" Target="../embeddings/oleObject94.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6.png"/><Relationship Id="rId2" Type="http://schemas.openxmlformats.org/officeDocument/2006/relationships/tags" Target="../tags/tag154.xml"/><Relationship Id="rId1" Type="http://schemas.openxmlformats.org/officeDocument/2006/relationships/vmlDrawing" Target="../drawings/vmlDrawing95.vml"/><Relationship Id="rId6" Type="http://schemas.openxmlformats.org/officeDocument/2006/relationships/image" Target="../media/image4.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6.png"/><Relationship Id="rId2" Type="http://schemas.openxmlformats.org/officeDocument/2006/relationships/tags" Target="../tags/tag156.xml"/><Relationship Id="rId1" Type="http://schemas.openxmlformats.org/officeDocument/2006/relationships/vmlDrawing" Target="../drawings/vmlDrawing96.vml"/><Relationship Id="rId6" Type="http://schemas.openxmlformats.org/officeDocument/2006/relationships/image" Target="../media/image4.emf"/><Relationship Id="rId5" Type="http://schemas.openxmlformats.org/officeDocument/2006/relationships/oleObject" Target="../embeddings/oleObject96.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7.png"/><Relationship Id="rId2" Type="http://schemas.openxmlformats.org/officeDocument/2006/relationships/tags" Target="../tags/tag158.xml"/><Relationship Id="rId1" Type="http://schemas.openxmlformats.org/officeDocument/2006/relationships/vmlDrawing" Target="../drawings/vmlDrawing97.vml"/><Relationship Id="rId6" Type="http://schemas.openxmlformats.org/officeDocument/2006/relationships/image" Target="../media/image4.emf"/><Relationship Id="rId5" Type="http://schemas.openxmlformats.org/officeDocument/2006/relationships/oleObject" Target="../embeddings/oleObject97.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8.png"/><Relationship Id="rId2" Type="http://schemas.openxmlformats.org/officeDocument/2006/relationships/tags" Target="../tags/tag160.xml"/><Relationship Id="rId1" Type="http://schemas.openxmlformats.org/officeDocument/2006/relationships/vmlDrawing" Target="../drawings/vmlDrawing98.vml"/><Relationship Id="rId6" Type="http://schemas.openxmlformats.org/officeDocument/2006/relationships/image" Target="../media/image4.emf"/><Relationship Id="rId5" Type="http://schemas.openxmlformats.org/officeDocument/2006/relationships/oleObject" Target="../embeddings/oleObject98.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10.png"/><Relationship Id="rId2" Type="http://schemas.openxmlformats.org/officeDocument/2006/relationships/tags" Target="../tags/tag162.xml"/><Relationship Id="rId1" Type="http://schemas.openxmlformats.org/officeDocument/2006/relationships/vmlDrawing" Target="../drawings/vmlDrawing99.vml"/><Relationship Id="rId6" Type="http://schemas.openxmlformats.org/officeDocument/2006/relationships/image" Target="../media/image9.emf"/><Relationship Id="rId5" Type="http://schemas.openxmlformats.org/officeDocument/2006/relationships/oleObject" Target="../embeddings/oleObject99.bin"/><Relationship Id="rId4"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8.png"/><Relationship Id="rId2" Type="http://schemas.openxmlformats.org/officeDocument/2006/relationships/tags" Target="../tags/tag164.xml"/><Relationship Id="rId1" Type="http://schemas.openxmlformats.org/officeDocument/2006/relationships/vmlDrawing" Target="../drawings/vmlDrawing100.vml"/><Relationship Id="rId6" Type="http://schemas.openxmlformats.org/officeDocument/2006/relationships/image" Target="../media/image4.emf"/><Relationship Id="rId5" Type="http://schemas.openxmlformats.org/officeDocument/2006/relationships/oleObject" Target="../embeddings/oleObject100.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7.png"/><Relationship Id="rId2" Type="http://schemas.openxmlformats.org/officeDocument/2006/relationships/tags" Target="../tags/tag166.xml"/><Relationship Id="rId1" Type="http://schemas.openxmlformats.org/officeDocument/2006/relationships/vmlDrawing" Target="../drawings/vmlDrawing101.vml"/><Relationship Id="rId6" Type="http://schemas.openxmlformats.org/officeDocument/2006/relationships/image" Target="../media/image4.emf"/><Relationship Id="rId5" Type="http://schemas.openxmlformats.org/officeDocument/2006/relationships/oleObject" Target="../embeddings/oleObject10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24633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0304"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404184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47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255698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0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446255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2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315571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4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05654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073"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91211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09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281040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12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377139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145"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05709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6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107463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19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090205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1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954948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452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49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882378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24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491148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26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811633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28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934222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313"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61860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337"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0225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36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185921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38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21970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0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5411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3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0264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5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46498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88497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52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07444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48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196042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50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05699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2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087707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5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227620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57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9708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60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23391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62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89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4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13227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7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4647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69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56451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545"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477005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2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70802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4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32927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6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1508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79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502811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1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4072616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41"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92266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6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261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8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485700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1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089786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3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000118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56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390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96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3678130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8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74030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400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03620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50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01841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60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1379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0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87509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810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1947047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844096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908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1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605382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144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59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175727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9965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273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61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58299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46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4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22229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0247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66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38687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146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689"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69830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32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630140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815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71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774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84676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73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50986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2911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761"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03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42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78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4683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2008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809"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30856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9300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83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67644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8378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85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74277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962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8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96220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904"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92923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92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2175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775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35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379441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953"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825063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59896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97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01905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00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275678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024"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37602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049"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841446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07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329200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09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7553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188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21"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224557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14742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4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950278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50830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7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8013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124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377"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261389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38646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19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53831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1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72472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24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546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160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26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47556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5568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29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0146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5691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31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86722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5017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3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58468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63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6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848574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4774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8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18746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4482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09"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3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0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603635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2037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43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3067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1005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45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25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59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481"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59728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448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50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07243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8509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529"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53325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841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55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68698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4038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57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29087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0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0856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24"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398369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64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43014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2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4164259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9368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67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36376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69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28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72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199392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744"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565618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76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614784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793"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3838865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81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12444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8589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754666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56261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460176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2785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522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449"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286423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4081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027900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394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9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1307778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2979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9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307897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3398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9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5829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48253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0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590577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520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0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94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2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1772018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4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3603210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7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2487907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9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121151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521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8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1553904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2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438609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4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3873301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708265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9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3820487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3939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4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82866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6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399556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8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173253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13"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874576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3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179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6896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0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8556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6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332929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8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338327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0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11930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3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603064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5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89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88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946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0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18219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29"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216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5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13737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97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08605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ags" Target="../tags/tag2.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76" Type="http://schemas.openxmlformats.org/officeDocument/2006/relationships/theme" Target="../theme/theme2.xml"/><Relationship Id="rId7" Type="http://schemas.openxmlformats.org/officeDocument/2006/relationships/slideLayout" Target="../slideLayouts/slideLayout82.xml"/><Relationship Id="rId71" Type="http://schemas.openxmlformats.org/officeDocument/2006/relationships/slideLayout" Target="../slideLayouts/slideLayout14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74" Type="http://schemas.openxmlformats.org/officeDocument/2006/relationships/slideLayout" Target="../slideLayouts/slideLayout149.xml"/><Relationship Id="rId79" Type="http://schemas.openxmlformats.org/officeDocument/2006/relationships/tags" Target="../tags/tag123.xml"/><Relationship Id="rId5" Type="http://schemas.openxmlformats.org/officeDocument/2006/relationships/slideLayout" Target="../slideLayouts/slideLayout80.xml"/><Relationship Id="rId61" Type="http://schemas.openxmlformats.org/officeDocument/2006/relationships/slideLayout" Target="../slideLayouts/slideLayout136.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slideLayout" Target="../slideLayouts/slideLayout148.xml"/><Relationship Id="rId78" Type="http://schemas.openxmlformats.org/officeDocument/2006/relationships/tags" Target="../tags/tag122.xml"/><Relationship Id="rId81" Type="http://schemas.openxmlformats.org/officeDocument/2006/relationships/image" Target="../media/image1.emf"/><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77" Type="http://schemas.openxmlformats.org/officeDocument/2006/relationships/vmlDrawing" Target="../drawings/vmlDrawing77.v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slideLayout" Target="../slideLayouts/slideLayout147.xml"/><Relationship Id="rId80" Type="http://schemas.openxmlformats.org/officeDocument/2006/relationships/oleObject" Target="../embeddings/oleObject77.bin"/><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slideLayout" Target="../slideLayouts/slideLayout145.xml"/><Relationship Id="rId75" Type="http://schemas.openxmlformats.org/officeDocument/2006/relationships/slideLayout" Target="../slideLayouts/slideLayout150.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extLst>
              <p:ext uri="{D42A27DB-BD31-4B8C-83A1-F6EECF244321}">
                <p14:modId xmlns:p14="http://schemas.microsoft.com/office/powerpoint/2010/main" val="2282681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83" name="think-cell Slide" r:id="rId80" imgW="270" imgH="270" progId="TCLayout.ActiveDocument.1">
                  <p:embed/>
                </p:oleObj>
              </mc:Choice>
              <mc:Fallback>
                <p:oleObj name="think-cell Slide" r:id="rId80" imgW="270" imgH="270" progId="TCLayout.ActiveDocument.1">
                  <p:embed/>
                  <p:pic>
                    <p:nvPicPr>
                      <p:cNvPr id="0" name=""/>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75247836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259" r:id="rId8"/>
    <p:sldLayoutId id="2147485260" r:id="rId9"/>
    <p:sldLayoutId id="2147485193" r:id="rId10"/>
    <p:sldLayoutId id="2147485194" r:id="rId11"/>
    <p:sldLayoutId id="2147485195" r:id="rId12"/>
    <p:sldLayoutId id="2147485196" r:id="rId13"/>
    <p:sldLayoutId id="2147485197" r:id="rId14"/>
    <p:sldLayoutId id="2147485198" r:id="rId15"/>
    <p:sldLayoutId id="2147485199" r:id="rId16"/>
    <p:sldLayoutId id="2147485200" r:id="rId17"/>
    <p:sldLayoutId id="2147485201" r:id="rId18"/>
    <p:sldLayoutId id="2147485202" r:id="rId19"/>
    <p:sldLayoutId id="2147485203" r:id="rId20"/>
    <p:sldLayoutId id="2147485204" r:id="rId21"/>
    <p:sldLayoutId id="2147485205" r:id="rId22"/>
    <p:sldLayoutId id="2147485206" r:id="rId23"/>
    <p:sldLayoutId id="2147485207" r:id="rId24"/>
    <p:sldLayoutId id="2147485208" r:id="rId25"/>
    <p:sldLayoutId id="2147485209" r:id="rId26"/>
    <p:sldLayoutId id="2147485210" r:id="rId27"/>
    <p:sldLayoutId id="2147485211" r:id="rId28"/>
    <p:sldLayoutId id="2147485212" r:id="rId29"/>
    <p:sldLayoutId id="2147485213" r:id="rId30"/>
    <p:sldLayoutId id="2147485214" r:id="rId31"/>
    <p:sldLayoutId id="2147485215" r:id="rId32"/>
    <p:sldLayoutId id="2147485216" r:id="rId33"/>
    <p:sldLayoutId id="2147485217" r:id="rId34"/>
    <p:sldLayoutId id="2147485218" r:id="rId35"/>
    <p:sldLayoutId id="2147485219" r:id="rId36"/>
    <p:sldLayoutId id="2147485220" r:id="rId37"/>
    <p:sldLayoutId id="2147485221" r:id="rId38"/>
    <p:sldLayoutId id="2147485222" r:id="rId39"/>
    <p:sldLayoutId id="2147485223" r:id="rId40"/>
    <p:sldLayoutId id="2147485224" r:id="rId41"/>
    <p:sldLayoutId id="2147485225" r:id="rId42"/>
    <p:sldLayoutId id="2147485226" r:id="rId43"/>
    <p:sldLayoutId id="2147485227" r:id="rId44"/>
    <p:sldLayoutId id="2147485228" r:id="rId45"/>
    <p:sldLayoutId id="2147485229" r:id="rId46"/>
    <p:sldLayoutId id="2147485230" r:id="rId47"/>
    <p:sldLayoutId id="2147485231" r:id="rId48"/>
    <p:sldLayoutId id="2147485232" r:id="rId49"/>
    <p:sldLayoutId id="2147485233" r:id="rId50"/>
    <p:sldLayoutId id="2147485234" r:id="rId51"/>
    <p:sldLayoutId id="2147485235" r:id="rId52"/>
    <p:sldLayoutId id="2147485236" r:id="rId53"/>
    <p:sldLayoutId id="2147485237" r:id="rId54"/>
    <p:sldLayoutId id="2147485238" r:id="rId55"/>
    <p:sldLayoutId id="2147485239" r:id="rId56"/>
    <p:sldLayoutId id="2147485240" r:id="rId57"/>
    <p:sldLayoutId id="2147485241" r:id="rId58"/>
    <p:sldLayoutId id="2147485242" r:id="rId59"/>
    <p:sldLayoutId id="2147485243" r:id="rId60"/>
    <p:sldLayoutId id="2147485244" r:id="rId61"/>
    <p:sldLayoutId id="2147485245" r:id="rId62"/>
    <p:sldLayoutId id="2147485246" r:id="rId63"/>
    <p:sldLayoutId id="2147485247" r:id="rId64"/>
    <p:sldLayoutId id="2147485248" r:id="rId65"/>
    <p:sldLayoutId id="2147485249" r:id="rId66"/>
    <p:sldLayoutId id="2147485250" r:id="rId67"/>
    <p:sldLayoutId id="2147485251" r:id="rId68"/>
    <p:sldLayoutId id="2147485252" r:id="rId69"/>
    <p:sldLayoutId id="2147485253" r:id="rId70"/>
    <p:sldLayoutId id="2147485254" r:id="rId71"/>
    <p:sldLayoutId id="2147485255" r:id="rId72"/>
    <p:sldLayoutId id="2147485256" r:id="rId73"/>
    <p:sldLayoutId id="2147485257" r:id="rId74"/>
    <p:sldLayoutId id="2147485258"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01"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909430740"/>
      </p:ext>
    </p:extLst>
  </p:cSld>
  <p:clrMap bg1="lt1" tx1="dk1" bg2="lt2" tx2="dk2" accent1="accent1" accent2="accent2" accent3="accent3" accent4="accent4" accent5="accent5" accent6="accent6" hlink="hlink" folHlink="folHlink"/>
  <p:sldLayoutIdLst>
    <p:sldLayoutId id="2147485262" r:id="rId1"/>
    <p:sldLayoutId id="2147485263" r:id="rId2"/>
    <p:sldLayoutId id="2147485264" r:id="rId3"/>
    <p:sldLayoutId id="2147485265" r:id="rId4"/>
    <p:sldLayoutId id="2147485266" r:id="rId5"/>
    <p:sldLayoutId id="2147485267" r:id="rId6"/>
    <p:sldLayoutId id="2147485268" r:id="rId7"/>
    <p:sldLayoutId id="2147485269" r:id="rId8"/>
    <p:sldLayoutId id="2147485270" r:id="rId9"/>
    <p:sldLayoutId id="2147485271" r:id="rId10"/>
    <p:sldLayoutId id="2147485272" r:id="rId11"/>
    <p:sldLayoutId id="2147485273" r:id="rId12"/>
    <p:sldLayoutId id="2147485274" r:id="rId13"/>
    <p:sldLayoutId id="2147485275" r:id="rId14"/>
    <p:sldLayoutId id="2147485276" r:id="rId15"/>
    <p:sldLayoutId id="2147485277" r:id="rId16"/>
    <p:sldLayoutId id="2147485278" r:id="rId17"/>
    <p:sldLayoutId id="2147485279" r:id="rId18"/>
    <p:sldLayoutId id="2147485280" r:id="rId19"/>
    <p:sldLayoutId id="2147485281" r:id="rId20"/>
    <p:sldLayoutId id="2147485282" r:id="rId21"/>
    <p:sldLayoutId id="2147485283" r:id="rId22"/>
    <p:sldLayoutId id="2147485284" r:id="rId23"/>
    <p:sldLayoutId id="2147485285" r:id="rId24"/>
    <p:sldLayoutId id="2147485286" r:id="rId25"/>
    <p:sldLayoutId id="2147485287" r:id="rId26"/>
    <p:sldLayoutId id="2147485288" r:id="rId27"/>
    <p:sldLayoutId id="2147485289" r:id="rId28"/>
    <p:sldLayoutId id="2147485290" r:id="rId29"/>
    <p:sldLayoutId id="2147485291" r:id="rId30"/>
    <p:sldLayoutId id="2147485292" r:id="rId31"/>
    <p:sldLayoutId id="2147485293" r:id="rId32"/>
    <p:sldLayoutId id="2147485294" r:id="rId33"/>
    <p:sldLayoutId id="2147485295" r:id="rId34"/>
    <p:sldLayoutId id="2147485296" r:id="rId35"/>
    <p:sldLayoutId id="2147485297" r:id="rId36"/>
    <p:sldLayoutId id="2147485298" r:id="rId37"/>
    <p:sldLayoutId id="2147485299" r:id="rId38"/>
    <p:sldLayoutId id="2147485300" r:id="rId39"/>
    <p:sldLayoutId id="2147485301" r:id="rId40"/>
    <p:sldLayoutId id="2147485302" r:id="rId41"/>
    <p:sldLayoutId id="2147485303" r:id="rId42"/>
    <p:sldLayoutId id="2147485304" r:id="rId43"/>
    <p:sldLayoutId id="2147485305" r:id="rId44"/>
    <p:sldLayoutId id="2147485306" r:id="rId45"/>
    <p:sldLayoutId id="2147485307" r:id="rId46"/>
    <p:sldLayoutId id="2147485308" r:id="rId47"/>
    <p:sldLayoutId id="2147485309" r:id="rId48"/>
    <p:sldLayoutId id="2147485310" r:id="rId49"/>
    <p:sldLayoutId id="2147485311" r:id="rId50"/>
    <p:sldLayoutId id="2147485312" r:id="rId51"/>
    <p:sldLayoutId id="2147485313" r:id="rId52"/>
    <p:sldLayoutId id="2147485314" r:id="rId53"/>
    <p:sldLayoutId id="2147485315" r:id="rId54"/>
    <p:sldLayoutId id="2147485316" r:id="rId55"/>
    <p:sldLayoutId id="2147485317" r:id="rId56"/>
    <p:sldLayoutId id="2147485318" r:id="rId57"/>
    <p:sldLayoutId id="2147485319" r:id="rId58"/>
    <p:sldLayoutId id="2147485320" r:id="rId59"/>
    <p:sldLayoutId id="2147485321" r:id="rId60"/>
    <p:sldLayoutId id="2147485322" r:id="rId61"/>
    <p:sldLayoutId id="2147485323" r:id="rId62"/>
    <p:sldLayoutId id="2147485324" r:id="rId63"/>
    <p:sldLayoutId id="2147485325" r:id="rId64"/>
    <p:sldLayoutId id="2147485326" r:id="rId65"/>
    <p:sldLayoutId id="2147485327" r:id="rId66"/>
    <p:sldLayoutId id="2147485328" r:id="rId67"/>
    <p:sldLayoutId id="2147485329" r:id="rId68"/>
    <p:sldLayoutId id="2147485330" r:id="rId69"/>
    <p:sldLayoutId id="2147485331" r:id="rId70"/>
    <p:sldLayoutId id="2147485332" r:id="rId71"/>
    <p:sldLayoutId id="2147485333" r:id="rId72"/>
    <p:sldLayoutId id="2147485334" r:id="rId73"/>
    <p:sldLayoutId id="2147485335" r:id="rId74"/>
    <p:sldLayoutId id="2147485336"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acog.org/clinical/clinical-guidance/practice-advisory/articles/2020/12/vaccinating-pregnant-and-lactating-patients-against-covid-19" TargetMode="External"/><Relationship Id="rId3" Type="http://schemas.openxmlformats.org/officeDocument/2006/relationships/tags" Target="../tags/tag259.xml"/><Relationship Id="rId7" Type="http://schemas.openxmlformats.org/officeDocument/2006/relationships/hyperlink" Target="https://www.cdc.gov/coronavirus/2019-ncov/need-extra-precautions/people-with-medical-conditions.html" TargetMode="External"/><Relationship Id="rId2" Type="http://schemas.openxmlformats.org/officeDocument/2006/relationships/tags" Target="../tags/tag258.xml"/><Relationship Id="rId1" Type="http://schemas.openxmlformats.org/officeDocument/2006/relationships/vmlDrawing" Target="../drawings/vmlDrawing160.vml"/><Relationship Id="rId6" Type="http://schemas.openxmlformats.org/officeDocument/2006/relationships/image" Target="../media/image14.emf"/><Relationship Id="rId5" Type="http://schemas.openxmlformats.org/officeDocument/2006/relationships/oleObject" Target="../embeddings/oleObject160.bin"/><Relationship Id="rId4"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53.bin"/><Relationship Id="rId3" Type="http://schemas.openxmlformats.org/officeDocument/2006/relationships/tags" Target="../tags/tag243.xml"/><Relationship Id="rId7" Type="http://schemas.openxmlformats.org/officeDocument/2006/relationships/notesSlide" Target="../notesSlides/notesSlide2.xml"/><Relationship Id="rId2" Type="http://schemas.openxmlformats.org/officeDocument/2006/relationships/tags" Target="../tags/tag242.xml"/><Relationship Id="rId1" Type="http://schemas.openxmlformats.org/officeDocument/2006/relationships/vmlDrawing" Target="../drawings/vmlDrawing153.vml"/><Relationship Id="rId6" Type="http://schemas.openxmlformats.org/officeDocument/2006/relationships/slideLayout" Target="../slideLayouts/slideLayout46.xml"/><Relationship Id="rId5" Type="http://schemas.openxmlformats.org/officeDocument/2006/relationships/tags" Target="../tags/tag245.xml"/><Relationship Id="rId10" Type="http://schemas.openxmlformats.org/officeDocument/2006/relationships/image" Target="../media/image13.jpg"/><Relationship Id="rId4" Type="http://schemas.openxmlformats.org/officeDocument/2006/relationships/tags" Target="../tags/tag244.xml"/><Relationship Id="rId9" Type="http://schemas.openxmlformats.org/officeDocument/2006/relationships/image" Target="../media/image12.emf"/></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8" Type="http://schemas.openxmlformats.org/officeDocument/2006/relationships/hyperlink" Target="https://www.cisa.gov/sites/default/files/publications/ECIW_4.0_Guidance_on_Essential_Critical_Infrastructure_Workers_Final3_508_0.pdf" TargetMode="External"/><Relationship Id="rId3" Type="http://schemas.openxmlformats.org/officeDocument/2006/relationships/tags" Target="../tags/tag247.xml"/><Relationship Id="rId7" Type="http://schemas.openxmlformats.org/officeDocument/2006/relationships/image" Target="../media/image12.emf"/><Relationship Id="rId12" Type="http://schemas.openxmlformats.org/officeDocument/2006/relationships/hyperlink" Target="https://www.cdc.gov/coronavirus/2019-ncov/index.html" TargetMode="External"/><Relationship Id="rId2" Type="http://schemas.openxmlformats.org/officeDocument/2006/relationships/tags" Target="../tags/tag246.xml"/><Relationship Id="rId1" Type="http://schemas.openxmlformats.org/officeDocument/2006/relationships/vmlDrawing" Target="../drawings/vmlDrawing154.vml"/><Relationship Id="rId6" Type="http://schemas.openxmlformats.org/officeDocument/2006/relationships/oleObject" Target="../embeddings/oleObject154.bin"/><Relationship Id="rId11" Type="http://schemas.openxmlformats.org/officeDocument/2006/relationships/hyperlink" Target="https://www.cdc.gov/coronavirus/2019-ncov/hcp/nursing-homes-responding.html" TargetMode="External"/><Relationship Id="rId5" Type="http://schemas.openxmlformats.org/officeDocument/2006/relationships/notesSlide" Target="../notesSlides/notesSlide3.xml"/><Relationship Id="rId10" Type="http://schemas.openxmlformats.org/officeDocument/2006/relationships/hyperlink" Target="https://www.cdc.gov/coronavirus/2019-ncov/community/homeless-shelters/plan-prepare-respond.html" TargetMode="External"/><Relationship Id="rId4" Type="http://schemas.openxmlformats.org/officeDocument/2006/relationships/slideLayout" Target="../slideLayouts/slideLayout21.xml"/><Relationship Id="rId9" Type="http://schemas.openxmlformats.org/officeDocument/2006/relationships/hyperlink" Target="https://www.cdc.gov/coronavirus/2019-ncov/daily-life-coping/living-in-close-quarters.html"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249.xml"/><Relationship Id="rId2" Type="http://schemas.openxmlformats.org/officeDocument/2006/relationships/tags" Target="../tags/tag248.xml"/><Relationship Id="rId1" Type="http://schemas.openxmlformats.org/officeDocument/2006/relationships/vmlDrawing" Target="../drawings/vmlDrawing155.vml"/><Relationship Id="rId6" Type="http://schemas.openxmlformats.org/officeDocument/2006/relationships/image" Target="../media/image14.emf"/><Relationship Id="rId5" Type="http://schemas.openxmlformats.org/officeDocument/2006/relationships/oleObject" Target="../embeddings/oleObject155.bin"/><Relationship Id="rId4"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hyperlink" Target="https://www.cisa.gov/identifying-critical-infrastructure-during-covid-19" TargetMode="External"/><Relationship Id="rId2" Type="http://schemas.openxmlformats.org/officeDocument/2006/relationships/tags" Target="../tags/tag250.xml"/><Relationship Id="rId1" Type="http://schemas.openxmlformats.org/officeDocument/2006/relationships/vmlDrawing" Target="../drawings/vmlDrawing156.vml"/><Relationship Id="rId6" Type="http://schemas.openxmlformats.org/officeDocument/2006/relationships/image" Target="../media/image14.emf"/><Relationship Id="rId5" Type="http://schemas.openxmlformats.org/officeDocument/2006/relationships/oleObject" Target="../embeddings/oleObject156.bin"/><Relationship Id="rId4"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vmlDrawing" Target="../drawings/vmlDrawing157.vml"/><Relationship Id="rId6" Type="http://schemas.openxmlformats.org/officeDocument/2006/relationships/image" Target="../media/image14.emf"/><Relationship Id="rId5" Type="http://schemas.openxmlformats.org/officeDocument/2006/relationships/oleObject" Target="../embeddings/oleObject157.bin"/><Relationship Id="rId4"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8" Type="http://schemas.openxmlformats.org/officeDocument/2006/relationships/hyperlink" Target="https://www.cdc.gov/coronavirus/2019-ncov/need-extra-precautions/people-with-medical-conditions.html" TargetMode="External"/><Relationship Id="rId3" Type="http://schemas.openxmlformats.org/officeDocument/2006/relationships/tags" Target="../tags/tag255.xml"/><Relationship Id="rId7" Type="http://schemas.openxmlformats.org/officeDocument/2006/relationships/hyperlink" Target="https://www.acog.org/clinical/clinical-guidance/practice-advisory/articles/2020/12/vaccinating-pregnant-and-lactating-patients-against-covid-19" TargetMode="External"/><Relationship Id="rId2" Type="http://schemas.openxmlformats.org/officeDocument/2006/relationships/tags" Target="../tags/tag254.xml"/><Relationship Id="rId1" Type="http://schemas.openxmlformats.org/officeDocument/2006/relationships/vmlDrawing" Target="../drawings/vmlDrawing158.vml"/><Relationship Id="rId6" Type="http://schemas.openxmlformats.org/officeDocument/2006/relationships/image" Target="../media/image14.emf"/><Relationship Id="rId5" Type="http://schemas.openxmlformats.org/officeDocument/2006/relationships/oleObject" Target="../embeddings/oleObject158.bin"/><Relationship Id="rId4"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hyperlink" Target="https://www.cisa.gov/identifying-critical-infrastructure-during-covid-19" TargetMode="External"/><Relationship Id="rId2" Type="http://schemas.openxmlformats.org/officeDocument/2006/relationships/tags" Target="../tags/tag256.xml"/><Relationship Id="rId1" Type="http://schemas.openxmlformats.org/officeDocument/2006/relationships/vmlDrawing" Target="../drawings/vmlDrawing159.vml"/><Relationship Id="rId6" Type="http://schemas.openxmlformats.org/officeDocument/2006/relationships/image" Target="../media/image14.emf"/><Relationship Id="rId5" Type="http://schemas.openxmlformats.org/officeDocument/2006/relationships/oleObject" Target="../embeddings/oleObject159.bin"/><Relationship Id="rId4"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3000" dirty="0"/>
              <a:t>COVID-19 Vaccine Prioritization</a:t>
            </a:r>
          </a:p>
        </p:txBody>
      </p:sp>
      <p:sp>
        <p:nvSpPr>
          <p:cNvPr id="4" name="Text Placeholder 3"/>
          <p:cNvSpPr>
            <a:spLocks noGrp="1"/>
          </p:cNvSpPr>
          <p:nvPr>
            <p:ph type="body" sz="quarter" idx="12"/>
          </p:nvPr>
        </p:nvSpPr>
        <p:spPr/>
        <p:txBody>
          <a:bodyPr/>
          <a:lstStyle/>
          <a:p>
            <a:r>
              <a:rPr lang="en-US" dirty="0"/>
              <a:t>March 15, 2021</a:t>
            </a:r>
          </a:p>
          <a:p>
            <a:endParaRPr lang="en-US" dirty="0"/>
          </a:p>
        </p:txBody>
      </p:sp>
    </p:spTree>
    <p:extLst>
      <p:ext uri="{BB962C8B-B14F-4D97-AF65-F5344CB8AC3E}">
        <p14:creationId xmlns:p14="http://schemas.microsoft.com/office/powerpoint/2010/main" val="2707141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29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01C74C-AE5C-42D9-83A5-8116109103C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389221"/>
            <a:ext cx="11615045" cy="664797"/>
          </a:xfrm>
          <a:prstGeom prst="rect">
            <a:avLst/>
          </a:prstGeom>
        </p:spPr>
        <p:txBody>
          <a:bodyPr>
            <a:spAutoFit/>
          </a:bodyPr>
          <a:lstStyle/>
          <a:p>
            <a:r>
              <a:rPr lang="en-US" dirty="0">
                <a:solidFill>
                  <a:schemeClr val="accent6"/>
                </a:solidFill>
              </a:rPr>
              <a:t>Phase 4 | </a:t>
            </a:r>
            <a:r>
              <a:rPr lang="en-US" dirty="0"/>
              <a:t>Aged 16-64 with </a:t>
            </a:r>
            <a:r>
              <a:rPr lang="en-US" b="1" u="sng" dirty="0"/>
              <a:t>other</a:t>
            </a:r>
            <a:r>
              <a:rPr lang="en-US" dirty="0"/>
              <a:t> medical risks: identifying characteristics and working definition </a:t>
            </a:r>
          </a:p>
        </p:txBody>
      </p:sp>
      <p:sp>
        <p:nvSpPr>
          <p:cNvPr id="24" name="ee4pHeader1">
            <a:extLst>
              <a:ext uri="{FF2B5EF4-FFF2-40B4-BE49-F238E27FC236}">
                <a16:creationId xmlns:a16="http://schemas.microsoft.com/office/drawing/2014/main" id="{5BD9B3A2-A7C5-43DA-B99F-C233B960B821}"/>
              </a:ext>
            </a:extLst>
          </p:cNvPr>
          <p:cNvSpPr txBox="1"/>
          <p:nvPr/>
        </p:nvSpPr>
        <p:spPr>
          <a:xfrm>
            <a:off x="3468029" y="2632282"/>
            <a:ext cx="8435493" cy="479529"/>
          </a:xfrm>
          <a:prstGeom prst="rect">
            <a:avLst/>
          </a:prstGeom>
          <a:noFill/>
          <a:ln cap="rnd">
            <a:noFill/>
          </a:ln>
        </p:spPr>
        <p:txBody>
          <a:bodyPr vert="horz" wrap="square" lIns="0" tIns="0" rIns="0" bIns="0" rtlCol="0" anchor="t" anchorCtr="0">
            <a:noAutofit/>
          </a:bodyPr>
          <a:lstStyle/>
          <a:p>
            <a:pP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Persons in the target age group who have been diagnosed with any of the conditions currently listed in the "conditions [that] might be at an increased risk" list, </a:t>
            </a:r>
            <a:r>
              <a:rPr lang="en-US" sz="1400" dirty="0">
                <a:solidFill>
                  <a:srgbClr val="000000"/>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xmlns="" val="tx"/>
                    </a:ext>
                  </a:extLst>
                </a:hlinkClick>
              </a:rPr>
              <a:t>provided by the CDC </a:t>
            </a:r>
            <a:r>
              <a:rPr lang="en-US" sz="1400" dirty="0">
                <a:solidFill>
                  <a:srgbClr val="000000"/>
                </a:solidFill>
                <a:latin typeface="Calibri" panose="020F0502020204030204" pitchFamily="34" charset="0"/>
                <a:cs typeface="Calibri" panose="020F0502020204030204" pitchFamily="34" charset="0"/>
              </a:rPr>
              <a:t>(</a:t>
            </a:r>
            <a:r>
              <a:rPr lang="en-US" sz="1400" dirty="0">
                <a:solidFill>
                  <a:srgbClr val="000000"/>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xmlns="" val="tx"/>
                    </a:ext>
                  </a:extLst>
                </a:hlinkClick>
              </a:rPr>
              <a:t>see below</a:t>
            </a:r>
            <a:r>
              <a:rPr lang="en-US" sz="1400" dirty="0">
                <a:solidFill>
                  <a:srgbClr val="000000"/>
                </a:solidFill>
                <a:latin typeface="Calibri" panose="020F0502020204030204" pitchFamily="34" charset="0"/>
                <a:cs typeface="Calibri" panose="020F0502020204030204" pitchFamily="34" charset="0"/>
              </a:rPr>
              <a:t>)</a:t>
            </a:r>
          </a:p>
        </p:txBody>
      </p:sp>
      <p:sp>
        <p:nvSpPr>
          <p:cNvPr id="37" name="ee4pHeader1">
            <a:extLst>
              <a:ext uri="{FF2B5EF4-FFF2-40B4-BE49-F238E27FC236}">
                <a16:creationId xmlns:a16="http://schemas.microsoft.com/office/drawing/2014/main" id="{99576483-DC11-4253-A79D-8030C41DDDB7}"/>
              </a:ext>
            </a:extLst>
          </p:cNvPr>
          <p:cNvSpPr txBox="1"/>
          <p:nvPr/>
        </p:nvSpPr>
        <p:spPr>
          <a:xfrm>
            <a:off x="3468029" y="1445448"/>
            <a:ext cx="8435493" cy="738664"/>
          </a:xfrm>
          <a:prstGeom prst="rect">
            <a:avLst/>
          </a:prstGeom>
          <a:noFill/>
          <a:ln cap="rnd">
            <a:noFill/>
          </a:ln>
        </p:spPr>
        <p:txBody>
          <a:bodyPr vert="horz" wrap="square" lIns="0" tIns="0" rIns="0" bIns="0" rtlCol="0" anchor="ctr" anchorCtr="0">
            <a:noAutofit/>
          </a:bodyPr>
          <a:lstStyle/>
          <a:p>
            <a:pP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cs typeface="Calibri" panose="020F0502020204030204" pitchFamily="34" charset="0"/>
              </a:rPr>
              <a:t>Persons aged 16–64 years with medical conditions that increase the risk for severe COVID-19</a:t>
            </a:r>
          </a:p>
        </p:txBody>
      </p:sp>
      <p:sp>
        <p:nvSpPr>
          <p:cNvPr id="43" name="TextBox 42">
            <a:extLst>
              <a:ext uri="{FF2B5EF4-FFF2-40B4-BE49-F238E27FC236}">
                <a16:creationId xmlns:a16="http://schemas.microsoft.com/office/drawing/2014/main" id="{7A252306-3D77-40FD-9AB8-1540045624C6}"/>
              </a:ext>
            </a:extLst>
          </p:cNvPr>
          <p:cNvSpPr txBox="1"/>
          <p:nvPr/>
        </p:nvSpPr>
        <p:spPr>
          <a:xfrm>
            <a:off x="3437813" y="3335895"/>
            <a:ext cx="8435493" cy="25632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DC's second list of conditions, which include (non-exhaustive):</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Asthma (moderate-to-severe)</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erebrovascular disease (affects blood vessels and blood supply to the brain)</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ystic fibrosis</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Immunocompromised state (weakened immune system) from blood or bone marrow transplant, immune deficiencies, HIV, use of corticosteroids, or use of other immune weakening medicines</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Neurologic conditions, such as dementia</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Liver disease</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Pulmonary fibrosis (having damaged or scarred lung tissues)</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Thalassemia (a type of blood disorder)</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Type 1 diabetes mellitus</a:t>
            </a:r>
          </a:p>
          <a:p>
            <a:pPr marL="756000" lvl="2" indent="-252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Obesity and severe obesity</a:t>
            </a:r>
          </a:p>
          <a:p>
            <a:pPr marL="298800" lvl="1" indent="-252000">
              <a:buClr>
                <a:srgbClr val="051934">
                  <a:lumMod val="100000"/>
                </a:srgbClr>
              </a:buClr>
              <a:buSzPct val="100000"/>
              <a:buFont typeface="Trebuchet MS" panose="020B0603020202020204" pitchFamily="34" charset="0"/>
              <a:buChar char="–"/>
            </a:pPr>
            <a:endParaRPr lang="en-US" sz="1400" dirty="0">
              <a:solidFill>
                <a:srgbClr val="000000">
                  <a:lumMod val="100000"/>
                </a:srgbClr>
              </a:solidFill>
              <a:latin typeface="Calibri" panose="020F0502020204030204" pitchFamily="34" charset="0"/>
            </a:endParaRPr>
          </a:p>
          <a:p>
            <a:pPr marL="756000" lvl="2" indent="-252000">
              <a:buClr>
                <a:srgbClr val="051934">
                  <a:lumMod val="100000"/>
                </a:srgbClr>
              </a:buClr>
              <a:buSzPct val="100000"/>
              <a:buFont typeface="Trebuchet MS" panose="020B0603020202020204" pitchFamily="34" charset="0"/>
              <a:buChar char="–"/>
            </a:pPr>
            <a:endParaRPr lang="en-US" sz="1400" dirty="0">
              <a:solidFill>
                <a:srgbClr val="000000">
                  <a:lumMod val="100000"/>
                </a:srgbClr>
              </a:solidFill>
              <a:latin typeface="Calibri" panose="020F0502020204030204" pitchFamily="34" charset="0"/>
            </a:endParaRPr>
          </a:p>
        </p:txBody>
      </p:sp>
      <p:cxnSp>
        <p:nvCxnSpPr>
          <p:cNvPr id="25" name="Straight Connector 24">
            <a:extLst>
              <a:ext uri="{FF2B5EF4-FFF2-40B4-BE49-F238E27FC236}">
                <a16:creationId xmlns:a16="http://schemas.microsoft.com/office/drawing/2014/main" id="{17F5469D-5785-4FF3-999B-CB75B4AB6A3D}"/>
              </a:ext>
            </a:extLst>
          </p:cNvPr>
          <p:cNvCxnSpPr/>
          <p:nvPr/>
        </p:nvCxnSpPr>
        <p:spPr>
          <a:xfrm>
            <a:off x="3468029" y="3335896"/>
            <a:ext cx="8435493"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52B8311-ADFE-4A28-A8C6-73857A476D07}"/>
              </a:ext>
            </a:extLst>
          </p:cNvPr>
          <p:cNvCxnSpPr/>
          <p:nvPr/>
        </p:nvCxnSpPr>
        <p:spPr>
          <a:xfrm>
            <a:off x="3468029" y="2408197"/>
            <a:ext cx="8435493"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2F2A7B3-D6BB-48F6-B69F-7214E8CD27F2}"/>
              </a:ext>
            </a:extLst>
          </p:cNvPr>
          <p:cNvGrpSpPr/>
          <p:nvPr/>
        </p:nvGrpSpPr>
        <p:grpSpPr>
          <a:xfrm>
            <a:off x="-1" y="3559981"/>
            <a:ext cx="3361060" cy="738663"/>
            <a:chOff x="-1" y="4475358"/>
            <a:chExt cx="3361060" cy="738663"/>
          </a:xfrm>
        </p:grpSpPr>
        <p:sp>
          <p:nvSpPr>
            <p:cNvPr id="85" name="Rectangle: Top Corners Rounded 84">
              <a:extLst>
                <a:ext uri="{FF2B5EF4-FFF2-40B4-BE49-F238E27FC236}">
                  <a16:creationId xmlns:a16="http://schemas.microsoft.com/office/drawing/2014/main" id="{31470719-9A47-470A-B67E-02552711DF7C}"/>
                </a:ext>
              </a:extLst>
            </p:cNvPr>
            <p:cNvSpPr/>
            <p:nvPr/>
          </p:nvSpPr>
          <p:spPr>
            <a:xfrm rot="5400000">
              <a:off x="1311197" y="316416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ee4pHeader1">
              <a:extLst>
                <a:ext uri="{FF2B5EF4-FFF2-40B4-BE49-F238E27FC236}">
                  <a16:creationId xmlns:a16="http://schemas.microsoft.com/office/drawing/2014/main" id="{E7F06789-D3BC-4918-A9EF-0C0DD6FCF9E3}"/>
                </a:ext>
              </a:extLst>
            </p:cNvPr>
            <p:cNvSpPr txBox="1"/>
            <p:nvPr/>
          </p:nvSpPr>
          <p:spPr>
            <a:xfrm>
              <a:off x="288478" y="4567691"/>
              <a:ext cx="2923073" cy="553998"/>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Examples of groups included</a:t>
              </a:r>
            </a:p>
          </p:txBody>
        </p:sp>
        <p:grpSp>
          <p:nvGrpSpPr>
            <p:cNvPr id="69" name="Group 68">
              <a:extLst>
                <a:ext uri="{FF2B5EF4-FFF2-40B4-BE49-F238E27FC236}">
                  <a16:creationId xmlns:a16="http://schemas.microsoft.com/office/drawing/2014/main" id="{F8096C6B-D1DE-4DF8-8CB5-A0C6624FD588}"/>
                </a:ext>
              </a:extLst>
            </p:cNvPr>
            <p:cNvGrpSpPr>
              <a:grpSpLocks noChangeAspect="1"/>
            </p:cNvGrpSpPr>
            <p:nvPr/>
          </p:nvGrpSpPr>
          <p:grpSpPr>
            <a:xfrm>
              <a:off x="318694" y="4621503"/>
              <a:ext cx="446374" cy="446374"/>
              <a:chOff x="5273803" y="2606803"/>
              <a:chExt cx="1645920" cy="1645920"/>
            </a:xfrm>
          </p:grpSpPr>
          <p:sp>
            <p:nvSpPr>
              <p:cNvPr id="70" name="AutoShape 23">
                <a:extLst>
                  <a:ext uri="{FF2B5EF4-FFF2-40B4-BE49-F238E27FC236}">
                    <a16:creationId xmlns:a16="http://schemas.microsoft.com/office/drawing/2014/main" id="{62B18B25-0EB8-45F3-BFFF-DD6BFA36E6C0}"/>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1" name="Group 70">
                <a:extLst>
                  <a:ext uri="{FF2B5EF4-FFF2-40B4-BE49-F238E27FC236}">
                    <a16:creationId xmlns:a16="http://schemas.microsoft.com/office/drawing/2014/main" id="{2252E39A-8CC0-4F03-99B2-82590A1737F7}"/>
                  </a:ext>
                </a:extLst>
              </p:cNvPr>
              <p:cNvGrpSpPr/>
              <p:nvPr/>
            </p:nvGrpSpPr>
            <p:grpSpPr>
              <a:xfrm>
                <a:off x="5484691" y="2758822"/>
                <a:ext cx="1224143" cy="1341882"/>
                <a:chOff x="5355525" y="2801969"/>
                <a:chExt cx="1522662" cy="1670659"/>
              </a:xfrm>
            </p:grpSpPr>
            <p:sp>
              <p:nvSpPr>
                <p:cNvPr id="72" name="Freeform 25">
                  <a:extLst>
                    <a:ext uri="{FF2B5EF4-FFF2-40B4-BE49-F238E27FC236}">
                      <a16:creationId xmlns:a16="http://schemas.microsoft.com/office/drawing/2014/main" id="{50C2BBA6-A012-4188-AC95-091A6BE3DE9C}"/>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6">
                  <a:extLst>
                    <a:ext uri="{FF2B5EF4-FFF2-40B4-BE49-F238E27FC236}">
                      <a16:creationId xmlns:a16="http://schemas.microsoft.com/office/drawing/2014/main" id="{CE73B817-D84A-47E9-8073-B40D6947AE35}"/>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48" name="Group 47">
            <a:extLst>
              <a:ext uri="{FF2B5EF4-FFF2-40B4-BE49-F238E27FC236}">
                <a16:creationId xmlns:a16="http://schemas.microsoft.com/office/drawing/2014/main" id="{CD6A6313-F2AC-4B96-AE76-F1363BD7B212}"/>
              </a:ext>
            </a:extLst>
          </p:cNvPr>
          <p:cNvGrpSpPr/>
          <p:nvPr/>
        </p:nvGrpSpPr>
        <p:grpSpPr>
          <a:xfrm>
            <a:off x="-1" y="2502715"/>
            <a:ext cx="3361060" cy="738663"/>
            <a:chOff x="-1" y="2404883"/>
            <a:chExt cx="3361060" cy="738663"/>
          </a:xfrm>
        </p:grpSpPr>
        <p:sp>
          <p:nvSpPr>
            <p:cNvPr id="49" name="Rectangle: Top Corners Rounded 48">
              <a:extLst>
                <a:ext uri="{FF2B5EF4-FFF2-40B4-BE49-F238E27FC236}">
                  <a16:creationId xmlns:a16="http://schemas.microsoft.com/office/drawing/2014/main" id="{FB1D4A7D-A057-40F0-8D6F-126C4F5FE216}"/>
                </a:ext>
              </a:extLst>
            </p:cNvPr>
            <p:cNvSpPr/>
            <p:nvPr/>
          </p:nvSpPr>
          <p:spPr>
            <a:xfrm rot="5400000">
              <a:off x="1311197" y="1093685"/>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ee4pHeader1">
              <a:extLst>
                <a:ext uri="{FF2B5EF4-FFF2-40B4-BE49-F238E27FC236}">
                  <a16:creationId xmlns:a16="http://schemas.microsoft.com/office/drawing/2014/main" id="{AAAE9409-232E-473A-A460-10217C294E67}"/>
                </a:ext>
              </a:extLst>
            </p:cNvPr>
            <p:cNvSpPr txBox="1"/>
            <p:nvPr/>
          </p:nvSpPr>
          <p:spPr>
            <a:xfrm>
              <a:off x="288478" y="2635715"/>
              <a:ext cx="2923073" cy="276999"/>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Description</a:t>
              </a:r>
              <a:endParaRPr lang="en-US" dirty="0">
                <a:solidFill>
                  <a:srgbClr val="FFFFFF"/>
                </a:solidFill>
                <a:latin typeface="+mj-lt"/>
                <a:cs typeface="Calibri" panose="020F0502020204030204" pitchFamily="34" charset="0"/>
              </a:endParaRPr>
            </a:p>
          </p:txBody>
        </p:sp>
        <p:grpSp>
          <p:nvGrpSpPr>
            <p:cNvPr id="51" name="Group 50">
              <a:extLst>
                <a:ext uri="{FF2B5EF4-FFF2-40B4-BE49-F238E27FC236}">
                  <a16:creationId xmlns:a16="http://schemas.microsoft.com/office/drawing/2014/main" id="{6C41AA7F-FD9A-42F9-A683-5AB5E4B5DDB0}"/>
                </a:ext>
              </a:extLst>
            </p:cNvPr>
            <p:cNvGrpSpPr>
              <a:grpSpLocks noChangeAspect="1"/>
            </p:cNvGrpSpPr>
            <p:nvPr/>
          </p:nvGrpSpPr>
          <p:grpSpPr>
            <a:xfrm>
              <a:off x="318602" y="2551028"/>
              <a:ext cx="445944" cy="446374"/>
              <a:chOff x="5273675" y="2605088"/>
              <a:chExt cx="1644650" cy="1646237"/>
            </a:xfrm>
          </p:grpSpPr>
          <p:sp>
            <p:nvSpPr>
              <p:cNvPr id="52" name="AutoShape 13">
                <a:extLst>
                  <a:ext uri="{FF2B5EF4-FFF2-40B4-BE49-F238E27FC236}">
                    <a16:creationId xmlns:a16="http://schemas.microsoft.com/office/drawing/2014/main" id="{D3958757-6583-40F5-A2F0-7428091C4917}"/>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C7D1AF4A-8C3C-4B5D-B5E8-6F3F74F1F8B8}"/>
                  </a:ext>
                </a:extLst>
              </p:cNvPr>
              <p:cNvGrpSpPr/>
              <p:nvPr/>
            </p:nvGrpSpPr>
            <p:grpSpPr>
              <a:xfrm>
                <a:off x="5374481" y="2739232"/>
                <a:ext cx="1443038" cy="1377949"/>
                <a:chOff x="5373687" y="2738438"/>
                <a:chExt cx="1443038" cy="1377949"/>
              </a:xfrm>
            </p:grpSpPr>
            <p:sp>
              <p:nvSpPr>
                <p:cNvPr id="54" name="Freeform 15">
                  <a:extLst>
                    <a:ext uri="{FF2B5EF4-FFF2-40B4-BE49-F238E27FC236}">
                      <a16:creationId xmlns:a16="http://schemas.microsoft.com/office/drawing/2014/main" id="{8DFBCED0-131E-4F94-9189-BF85153B57DC}"/>
                    </a:ext>
                  </a:extLst>
                </p:cNvPr>
                <p:cNvSpPr>
                  <a:spLocks noEditPoints="1"/>
                </p:cNvSpPr>
                <p:nvPr/>
              </p:nvSpPr>
              <p:spPr bwMode="auto">
                <a:xfrm>
                  <a:off x="5737225" y="2797175"/>
                  <a:ext cx="701675" cy="582612"/>
                </a:xfrm>
                <a:custGeom>
                  <a:avLst/>
                  <a:gdLst>
                    <a:gd name="T0" fmla="*/ 958 w 983"/>
                    <a:gd name="T1" fmla="*/ 576 h 816"/>
                    <a:gd name="T2" fmla="*/ 960 w 983"/>
                    <a:gd name="T3" fmla="*/ 487 h 816"/>
                    <a:gd name="T4" fmla="*/ 139 w 983"/>
                    <a:gd name="T5" fmla="*/ 142 h 816"/>
                    <a:gd name="T6" fmla="*/ 31 w 983"/>
                    <a:gd name="T7" fmla="*/ 692 h 816"/>
                    <a:gd name="T8" fmla="*/ 48 w 983"/>
                    <a:gd name="T9" fmla="*/ 700 h 816"/>
                    <a:gd name="T10" fmla="*/ 62 w 983"/>
                    <a:gd name="T11" fmla="*/ 695 h 816"/>
                    <a:gd name="T12" fmla="*/ 65 w 983"/>
                    <a:gd name="T13" fmla="*/ 664 h 816"/>
                    <a:gd name="T14" fmla="*/ 87 w 983"/>
                    <a:gd name="T15" fmla="*/ 291 h 816"/>
                    <a:gd name="T16" fmla="*/ 212 w 983"/>
                    <a:gd name="T17" fmla="*/ 414 h 816"/>
                    <a:gd name="T18" fmla="*/ 155 w 983"/>
                    <a:gd name="T19" fmla="*/ 455 h 816"/>
                    <a:gd name="T20" fmla="*/ 242 w 983"/>
                    <a:gd name="T21" fmla="*/ 455 h 816"/>
                    <a:gd name="T22" fmla="*/ 330 w 983"/>
                    <a:gd name="T23" fmla="*/ 364 h 816"/>
                    <a:gd name="T24" fmla="*/ 353 w 983"/>
                    <a:gd name="T25" fmla="*/ 365 h 816"/>
                    <a:gd name="T26" fmla="*/ 408 w 983"/>
                    <a:gd name="T27" fmla="*/ 467 h 816"/>
                    <a:gd name="T28" fmla="*/ 376 w 983"/>
                    <a:gd name="T29" fmla="*/ 659 h 816"/>
                    <a:gd name="T30" fmla="*/ 349 w 983"/>
                    <a:gd name="T31" fmla="*/ 679 h 816"/>
                    <a:gd name="T32" fmla="*/ 170 w 983"/>
                    <a:gd name="T33" fmla="*/ 675 h 816"/>
                    <a:gd name="T34" fmla="*/ 122 w 983"/>
                    <a:gd name="T35" fmla="*/ 676 h 816"/>
                    <a:gd name="T36" fmla="*/ 104 w 983"/>
                    <a:gd name="T37" fmla="*/ 712 h 816"/>
                    <a:gd name="T38" fmla="*/ 147 w 983"/>
                    <a:gd name="T39" fmla="*/ 755 h 816"/>
                    <a:gd name="T40" fmla="*/ 348 w 983"/>
                    <a:gd name="T41" fmla="*/ 723 h 816"/>
                    <a:gd name="T42" fmla="*/ 417 w 983"/>
                    <a:gd name="T43" fmla="*/ 816 h 816"/>
                    <a:gd name="T44" fmla="*/ 420 w 983"/>
                    <a:gd name="T45" fmla="*/ 729 h 816"/>
                    <a:gd name="T46" fmla="*/ 474 w 983"/>
                    <a:gd name="T47" fmla="*/ 740 h 816"/>
                    <a:gd name="T48" fmla="*/ 558 w 983"/>
                    <a:gd name="T49" fmla="*/ 739 h 816"/>
                    <a:gd name="T50" fmla="*/ 617 w 983"/>
                    <a:gd name="T51" fmla="*/ 735 h 816"/>
                    <a:gd name="T52" fmla="*/ 626 w 983"/>
                    <a:gd name="T53" fmla="*/ 816 h 816"/>
                    <a:gd name="T54" fmla="*/ 682 w 983"/>
                    <a:gd name="T55" fmla="*/ 725 h 816"/>
                    <a:gd name="T56" fmla="*/ 852 w 983"/>
                    <a:gd name="T57" fmla="*/ 765 h 816"/>
                    <a:gd name="T58" fmla="*/ 896 w 983"/>
                    <a:gd name="T59" fmla="*/ 721 h 816"/>
                    <a:gd name="T60" fmla="*/ 852 w 983"/>
                    <a:gd name="T61" fmla="*/ 678 h 816"/>
                    <a:gd name="T62" fmla="*/ 683 w 983"/>
                    <a:gd name="T63" fmla="*/ 680 h 816"/>
                    <a:gd name="T64" fmla="*/ 654 w 983"/>
                    <a:gd name="T65" fmla="*/ 659 h 816"/>
                    <a:gd name="T66" fmla="*/ 613 w 983"/>
                    <a:gd name="T67" fmla="*/ 467 h 816"/>
                    <a:gd name="T68" fmla="*/ 674 w 983"/>
                    <a:gd name="T69" fmla="*/ 366 h 816"/>
                    <a:gd name="T70" fmla="*/ 695 w 983"/>
                    <a:gd name="T71" fmla="*/ 361 h 816"/>
                    <a:gd name="T72" fmla="*/ 765 w 983"/>
                    <a:gd name="T73" fmla="*/ 437 h 816"/>
                    <a:gd name="T74" fmla="*/ 852 w 983"/>
                    <a:gd name="T75" fmla="*/ 437 h 816"/>
                    <a:gd name="T76" fmla="*/ 796 w 983"/>
                    <a:gd name="T77" fmla="*/ 395 h 816"/>
                    <a:gd name="T78" fmla="*/ 870 w 983"/>
                    <a:gd name="T79" fmla="*/ 286 h 816"/>
                    <a:gd name="T80" fmla="*/ 916 w 983"/>
                    <a:gd name="T81" fmla="*/ 505 h 816"/>
                    <a:gd name="T82" fmla="*/ 914 w 983"/>
                    <a:gd name="T83" fmla="*/ 572 h 816"/>
                    <a:gd name="T84" fmla="*/ 939 w 983"/>
                    <a:gd name="T85" fmla="*/ 668 h 816"/>
                    <a:gd name="T86" fmla="*/ 977 w 983"/>
                    <a:gd name="T87" fmla="*/ 647 h 816"/>
                    <a:gd name="T88" fmla="*/ 612 w 983"/>
                    <a:gd name="T89" fmla="*/ 673 h 816"/>
                    <a:gd name="T90" fmla="*/ 547 w 983"/>
                    <a:gd name="T91" fmla="*/ 696 h 816"/>
                    <a:gd name="T92" fmla="*/ 484 w 983"/>
                    <a:gd name="T93" fmla="*/ 697 h 816"/>
                    <a:gd name="T94" fmla="*/ 418 w 983"/>
                    <a:gd name="T95" fmla="*/ 673 h 816"/>
                    <a:gd name="T96" fmla="*/ 468 w 983"/>
                    <a:gd name="T97" fmla="*/ 507 h 816"/>
                    <a:gd name="T98" fmla="*/ 532 w 983"/>
                    <a:gd name="T99" fmla="*/ 489 h 816"/>
                    <a:gd name="T100" fmla="*/ 609 w 983"/>
                    <a:gd name="T101" fmla="*/ 665 h 816"/>
                    <a:gd name="T102" fmla="*/ 569 w 983"/>
                    <a:gd name="T103" fmla="*/ 423 h 816"/>
                    <a:gd name="T104" fmla="*/ 489 w 983"/>
                    <a:gd name="T105" fmla="*/ 445 h 816"/>
                    <a:gd name="T106" fmla="*/ 390 w 983"/>
                    <a:gd name="T107" fmla="*/ 341 h 816"/>
                    <a:gd name="T108" fmla="*/ 636 w 983"/>
                    <a:gd name="T109" fmla="*/ 343 h 816"/>
                    <a:gd name="T110" fmla="*/ 703 w 983"/>
                    <a:gd name="T111" fmla="*/ 290 h 816"/>
                    <a:gd name="T112" fmla="*/ 639 w 983"/>
                    <a:gd name="T113" fmla="*/ 297 h 816"/>
                    <a:gd name="T114" fmla="*/ 344 w 983"/>
                    <a:gd name="T115" fmla="*/ 279 h 816"/>
                    <a:gd name="T116" fmla="*/ 109 w 983"/>
                    <a:gd name="T117" fmla="*/ 251 h 816"/>
                    <a:gd name="T118" fmla="*/ 848 w 983"/>
                    <a:gd name="T119" fmla="*/ 24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3" h="816">
                      <a:moveTo>
                        <a:pt x="977" y="647"/>
                      </a:moveTo>
                      <a:cubicBezTo>
                        <a:pt x="958" y="612"/>
                        <a:pt x="957" y="586"/>
                        <a:pt x="958" y="576"/>
                      </a:cubicBezTo>
                      <a:cubicBezTo>
                        <a:pt x="960" y="552"/>
                        <a:pt x="960" y="528"/>
                        <a:pt x="960" y="505"/>
                      </a:cubicBezTo>
                      <a:cubicBezTo>
                        <a:pt x="960" y="499"/>
                        <a:pt x="960" y="493"/>
                        <a:pt x="960" y="487"/>
                      </a:cubicBezTo>
                      <a:cubicBezTo>
                        <a:pt x="960" y="214"/>
                        <a:pt x="749" y="0"/>
                        <a:pt x="481" y="0"/>
                      </a:cubicBezTo>
                      <a:cubicBezTo>
                        <a:pt x="350" y="0"/>
                        <a:pt x="229" y="50"/>
                        <a:pt x="139" y="142"/>
                      </a:cubicBezTo>
                      <a:cubicBezTo>
                        <a:pt x="49" y="234"/>
                        <a:pt x="0" y="356"/>
                        <a:pt x="0" y="487"/>
                      </a:cubicBezTo>
                      <a:cubicBezTo>
                        <a:pt x="0" y="489"/>
                        <a:pt x="2" y="657"/>
                        <a:pt x="31" y="692"/>
                      </a:cubicBezTo>
                      <a:cubicBezTo>
                        <a:pt x="33" y="694"/>
                        <a:pt x="35" y="696"/>
                        <a:pt x="37" y="697"/>
                      </a:cubicBezTo>
                      <a:cubicBezTo>
                        <a:pt x="41" y="699"/>
                        <a:pt x="45" y="700"/>
                        <a:pt x="48" y="700"/>
                      </a:cubicBezTo>
                      <a:cubicBezTo>
                        <a:pt x="49" y="700"/>
                        <a:pt x="49" y="700"/>
                        <a:pt x="50" y="700"/>
                      </a:cubicBezTo>
                      <a:cubicBezTo>
                        <a:pt x="54" y="699"/>
                        <a:pt x="59" y="698"/>
                        <a:pt x="62" y="695"/>
                      </a:cubicBezTo>
                      <a:cubicBezTo>
                        <a:pt x="68" y="690"/>
                        <a:pt x="70" y="684"/>
                        <a:pt x="70" y="677"/>
                      </a:cubicBezTo>
                      <a:cubicBezTo>
                        <a:pt x="70" y="672"/>
                        <a:pt x="68" y="668"/>
                        <a:pt x="65" y="664"/>
                      </a:cubicBezTo>
                      <a:cubicBezTo>
                        <a:pt x="55" y="650"/>
                        <a:pt x="44" y="555"/>
                        <a:pt x="44" y="487"/>
                      </a:cubicBezTo>
                      <a:cubicBezTo>
                        <a:pt x="44" y="416"/>
                        <a:pt x="60" y="350"/>
                        <a:pt x="87" y="291"/>
                      </a:cubicBezTo>
                      <a:cubicBezTo>
                        <a:pt x="299" y="333"/>
                        <a:pt x="299" y="333"/>
                        <a:pt x="299" y="333"/>
                      </a:cubicBezTo>
                      <a:cubicBezTo>
                        <a:pt x="212" y="414"/>
                        <a:pt x="212" y="414"/>
                        <a:pt x="212" y="414"/>
                      </a:cubicBezTo>
                      <a:cubicBezTo>
                        <a:pt x="207" y="413"/>
                        <a:pt x="203" y="412"/>
                        <a:pt x="198" y="412"/>
                      </a:cubicBezTo>
                      <a:cubicBezTo>
                        <a:pt x="174" y="412"/>
                        <a:pt x="155" y="431"/>
                        <a:pt x="155" y="455"/>
                      </a:cubicBezTo>
                      <a:cubicBezTo>
                        <a:pt x="155" y="479"/>
                        <a:pt x="174" y="499"/>
                        <a:pt x="198" y="499"/>
                      </a:cubicBezTo>
                      <a:cubicBezTo>
                        <a:pt x="222" y="499"/>
                        <a:pt x="242" y="479"/>
                        <a:pt x="242" y="455"/>
                      </a:cubicBezTo>
                      <a:cubicBezTo>
                        <a:pt x="242" y="452"/>
                        <a:pt x="242" y="449"/>
                        <a:pt x="241" y="447"/>
                      </a:cubicBezTo>
                      <a:cubicBezTo>
                        <a:pt x="330" y="364"/>
                        <a:pt x="330" y="364"/>
                        <a:pt x="330" y="364"/>
                      </a:cubicBezTo>
                      <a:cubicBezTo>
                        <a:pt x="335" y="365"/>
                        <a:pt x="339" y="366"/>
                        <a:pt x="344" y="366"/>
                      </a:cubicBezTo>
                      <a:cubicBezTo>
                        <a:pt x="347" y="366"/>
                        <a:pt x="350" y="366"/>
                        <a:pt x="353" y="365"/>
                      </a:cubicBezTo>
                      <a:cubicBezTo>
                        <a:pt x="413" y="445"/>
                        <a:pt x="413" y="445"/>
                        <a:pt x="413" y="445"/>
                      </a:cubicBezTo>
                      <a:cubicBezTo>
                        <a:pt x="410" y="451"/>
                        <a:pt x="408" y="459"/>
                        <a:pt x="408" y="467"/>
                      </a:cubicBezTo>
                      <a:cubicBezTo>
                        <a:pt x="408" y="481"/>
                        <a:pt x="414" y="493"/>
                        <a:pt x="424" y="501"/>
                      </a:cubicBezTo>
                      <a:cubicBezTo>
                        <a:pt x="376" y="659"/>
                        <a:pt x="376" y="659"/>
                        <a:pt x="376" y="659"/>
                      </a:cubicBezTo>
                      <a:cubicBezTo>
                        <a:pt x="368" y="661"/>
                        <a:pt x="361" y="665"/>
                        <a:pt x="355" y="671"/>
                      </a:cubicBezTo>
                      <a:cubicBezTo>
                        <a:pt x="353" y="673"/>
                        <a:pt x="350" y="676"/>
                        <a:pt x="349" y="679"/>
                      </a:cubicBezTo>
                      <a:cubicBezTo>
                        <a:pt x="184" y="689"/>
                        <a:pt x="184" y="689"/>
                        <a:pt x="184" y="689"/>
                      </a:cubicBezTo>
                      <a:cubicBezTo>
                        <a:pt x="181" y="683"/>
                        <a:pt x="176" y="679"/>
                        <a:pt x="170" y="675"/>
                      </a:cubicBezTo>
                      <a:cubicBezTo>
                        <a:pt x="164" y="671"/>
                        <a:pt x="156" y="668"/>
                        <a:pt x="147" y="668"/>
                      </a:cubicBezTo>
                      <a:cubicBezTo>
                        <a:pt x="138" y="668"/>
                        <a:pt x="129" y="671"/>
                        <a:pt x="122" y="676"/>
                      </a:cubicBezTo>
                      <a:cubicBezTo>
                        <a:pt x="113" y="683"/>
                        <a:pt x="106" y="694"/>
                        <a:pt x="104" y="706"/>
                      </a:cubicBezTo>
                      <a:cubicBezTo>
                        <a:pt x="104" y="708"/>
                        <a:pt x="104" y="710"/>
                        <a:pt x="104" y="712"/>
                      </a:cubicBezTo>
                      <a:cubicBezTo>
                        <a:pt x="104" y="726"/>
                        <a:pt x="110" y="738"/>
                        <a:pt x="121" y="746"/>
                      </a:cubicBezTo>
                      <a:cubicBezTo>
                        <a:pt x="128" y="752"/>
                        <a:pt x="137" y="755"/>
                        <a:pt x="147" y="755"/>
                      </a:cubicBezTo>
                      <a:cubicBezTo>
                        <a:pt x="164" y="755"/>
                        <a:pt x="178" y="746"/>
                        <a:pt x="185" y="733"/>
                      </a:cubicBezTo>
                      <a:cubicBezTo>
                        <a:pt x="348" y="723"/>
                        <a:pt x="348" y="723"/>
                        <a:pt x="348" y="723"/>
                      </a:cubicBezTo>
                      <a:cubicBezTo>
                        <a:pt x="354" y="734"/>
                        <a:pt x="365" y="743"/>
                        <a:pt x="378" y="745"/>
                      </a:cubicBezTo>
                      <a:cubicBezTo>
                        <a:pt x="417" y="816"/>
                        <a:pt x="417" y="816"/>
                        <a:pt x="417" y="816"/>
                      </a:cubicBezTo>
                      <a:cubicBezTo>
                        <a:pt x="468" y="816"/>
                        <a:pt x="468" y="816"/>
                        <a:pt x="468" y="816"/>
                      </a:cubicBezTo>
                      <a:cubicBezTo>
                        <a:pt x="420" y="729"/>
                        <a:pt x="420" y="729"/>
                        <a:pt x="420" y="729"/>
                      </a:cubicBezTo>
                      <a:cubicBezTo>
                        <a:pt x="420" y="729"/>
                        <a:pt x="420" y="728"/>
                        <a:pt x="420" y="728"/>
                      </a:cubicBezTo>
                      <a:cubicBezTo>
                        <a:pt x="474" y="740"/>
                        <a:pt x="474" y="740"/>
                        <a:pt x="474" y="740"/>
                      </a:cubicBezTo>
                      <a:cubicBezTo>
                        <a:pt x="480" y="758"/>
                        <a:pt x="496" y="771"/>
                        <a:pt x="516" y="771"/>
                      </a:cubicBezTo>
                      <a:cubicBezTo>
                        <a:pt x="536" y="771"/>
                        <a:pt x="553" y="757"/>
                        <a:pt x="558" y="739"/>
                      </a:cubicBezTo>
                      <a:cubicBezTo>
                        <a:pt x="610" y="728"/>
                        <a:pt x="610" y="728"/>
                        <a:pt x="610" y="728"/>
                      </a:cubicBezTo>
                      <a:cubicBezTo>
                        <a:pt x="612" y="731"/>
                        <a:pt x="614" y="733"/>
                        <a:pt x="617" y="735"/>
                      </a:cubicBezTo>
                      <a:cubicBezTo>
                        <a:pt x="577" y="816"/>
                        <a:pt x="577" y="816"/>
                        <a:pt x="577" y="816"/>
                      </a:cubicBezTo>
                      <a:cubicBezTo>
                        <a:pt x="626" y="816"/>
                        <a:pt x="626" y="816"/>
                        <a:pt x="626" y="816"/>
                      </a:cubicBezTo>
                      <a:cubicBezTo>
                        <a:pt x="663" y="741"/>
                        <a:pt x="663" y="741"/>
                        <a:pt x="663" y="741"/>
                      </a:cubicBezTo>
                      <a:cubicBezTo>
                        <a:pt x="671" y="738"/>
                        <a:pt x="677" y="732"/>
                        <a:pt x="682" y="725"/>
                      </a:cubicBezTo>
                      <a:cubicBezTo>
                        <a:pt x="812" y="738"/>
                        <a:pt x="812" y="738"/>
                        <a:pt x="812" y="738"/>
                      </a:cubicBezTo>
                      <a:cubicBezTo>
                        <a:pt x="818" y="754"/>
                        <a:pt x="834" y="765"/>
                        <a:pt x="852" y="765"/>
                      </a:cubicBezTo>
                      <a:cubicBezTo>
                        <a:pt x="858" y="765"/>
                        <a:pt x="863" y="764"/>
                        <a:pt x="868" y="762"/>
                      </a:cubicBezTo>
                      <a:cubicBezTo>
                        <a:pt x="884" y="755"/>
                        <a:pt x="896" y="740"/>
                        <a:pt x="896" y="721"/>
                      </a:cubicBezTo>
                      <a:cubicBezTo>
                        <a:pt x="896" y="717"/>
                        <a:pt x="895" y="713"/>
                        <a:pt x="894" y="709"/>
                      </a:cubicBezTo>
                      <a:cubicBezTo>
                        <a:pt x="889" y="691"/>
                        <a:pt x="872" y="678"/>
                        <a:pt x="852" y="678"/>
                      </a:cubicBezTo>
                      <a:cubicBezTo>
                        <a:pt x="838" y="678"/>
                        <a:pt x="826" y="684"/>
                        <a:pt x="818" y="694"/>
                      </a:cubicBezTo>
                      <a:cubicBezTo>
                        <a:pt x="683" y="680"/>
                        <a:pt x="683" y="680"/>
                        <a:pt x="683" y="680"/>
                      </a:cubicBezTo>
                      <a:cubicBezTo>
                        <a:pt x="679" y="674"/>
                        <a:pt x="673" y="668"/>
                        <a:pt x="666" y="664"/>
                      </a:cubicBezTo>
                      <a:cubicBezTo>
                        <a:pt x="662" y="662"/>
                        <a:pt x="658" y="660"/>
                        <a:pt x="654" y="659"/>
                      </a:cubicBezTo>
                      <a:cubicBezTo>
                        <a:pt x="598" y="499"/>
                        <a:pt x="598" y="499"/>
                        <a:pt x="598" y="499"/>
                      </a:cubicBezTo>
                      <a:cubicBezTo>
                        <a:pt x="607" y="491"/>
                        <a:pt x="613" y="480"/>
                        <a:pt x="613" y="467"/>
                      </a:cubicBezTo>
                      <a:cubicBezTo>
                        <a:pt x="613" y="459"/>
                        <a:pt x="611" y="453"/>
                        <a:pt x="608" y="447"/>
                      </a:cubicBezTo>
                      <a:cubicBezTo>
                        <a:pt x="674" y="366"/>
                        <a:pt x="674" y="366"/>
                        <a:pt x="674" y="366"/>
                      </a:cubicBezTo>
                      <a:cubicBezTo>
                        <a:pt x="674" y="366"/>
                        <a:pt x="674" y="366"/>
                        <a:pt x="674" y="366"/>
                      </a:cubicBezTo>
                      <a:cubicBezTo>
                        <a:pt x="682" y="366"/>
                        <a:pt x="689" y="364"/>
                        <a:pt x="695" y="361"/>
                      </a:cubicBezTo>
                      <a:cubicBezTo>
                        <a:pt x="766" y="427"/>
                        <a:pt x="766" y="427"/>
                        <a:pt x="766" y="427"/>
                      </a:cubicBezTo>
                      <a:cubicBezTo>
                        <a:pt x="765" y="430"/>
                        <a:pt x="765" y="433"/>
                        <a:pt x="765" y="437"/>
                      </a:cubicBezTo>
                      <a:cubicBezTo>
                        <a:pt x="765" y="461"/>
                        <a:pt x="785" y="480"/>
                        <a:pt x="809" y="480"/>
                      </a:cubicBezTo>
                      <a:cubicBezTo>
                        <a:pt x="833" y="480"/>
                        <a:pt x="852" y="461"/>
                        <a:pt x="852" y="437"/>
                      </a:cubicBezTo>
                      <a:cubicBezTo>
                        <a:pt x="852" y="413"/>
                        <a:pt x="833" y="393"/>
                        <a:pt x="809" y="393"/>
                      </a:cubicBezTo>
                      <a:cubicBezTo>
                        <a:pt x="804" y="393"/>
                        <a:pt x="800" y="394"/>
                        <a:pt x="796" y="395"/>
                      </a:cubicBezTo>
                      <a:cubicBezTo>
                        <a:pt x="726" y="329"/>
                        <a:pt x="726" y="329"/>
                        <a:pt x="726" y="329"/>
                      </a:cubicBezTo>
                      <a:cubicBezTo>
                        <a:pt x="870" y="286"/>
                        <a:pt x="870" y="286"/>
                        <a:pt x="870" y="286"/>
                      </a:cubicBezTo>
                      <a:cubicBezTo>
                        <a:pt x="899" y="346"/>
                        <a:pt x="916" y="414"/>
                        <a:pt x="916" y="487"/>
                      </a:cubicBezTo>
                      <a:cubicBezTo>
                        <a:pt x="916" y="493"/>
                        <a:pt x="916" y="499"/>
                        <a:pt x="916" y="505"/>
                      </a:cubicBezTo>
                      <a:cubicBezTo>
                        <a:pt x="916" y="528"/>
                        <a:pt x="916" y="550"/>
                        <a:pt x="914" y="572"/>
                      </a:cubicBezTo>
                      <a:cubicBezTo>
                        <a:pt x="914" y="572"/>
                        <a:pt x="914" y="572"/>
                        <a:pt x="914" y="572"/>
                      </a:cubicBezTo>
                      <a:cubicBezTo>
                        <a:pt x="912" y="598"/>
                        <a:pt x="919" y="629"/>
                        <a:pt x="933" y="658"/>
                      </a:cubicBezTo>
                      <a:cubicBezTo>
                        <a:pt x="935" y="661"/>
                        <a:pt x="937" y="665"/>
                        <a:pt x="939" y="668"/>
                      </a:cubicBezTo>
                      <a:cubicBezTo>
                        <a:pt x="945" y="679"/>
                        <a:pt x="958" y="683"/>
                        <a:pt x="969" y="677"/>
                      </a:cubicBezTo>
                      <a:cubicBezTo>
                        <a:pt x="979" y="671"/>
                        <a:pt x="983" y="657"/>
                        <a:pt x="977" y="647"/>
                      </a:cubicBezTo>
                      <a:close/>
                      <a:moveTo>
                        <a:pt x="609" y="665"/>
                      </a:moveTo>
                      <a:cubicBezTo>
                        <a:pt x="612" y="673"/>
                        <a:pt x="612" y="673"/>
                        <a:pt x="612" y="673"/>
                      </a:cubicBezTo>
                      <a:cubicBezTo>
                        <a:pt x="609" y="677"/>
                        <a:pt x="607" y="680"/>
                        <a:pt x="605" y="684"/>
                      </a:cubicBezTo>
                      <a:cubicBezTo>
                        <a:pt x="547" y="696"/>
                        <a:pt x="547" y="696"/>
                        <a:pt x="547" y="696"/>
                      </a:cubicBezTo>
                      <a:cubicBezTo>
                        <a:pt x="539" y="688"/>
                        <a:pt x="528" y="684"/>
                        <a:pt x="516" y="684"/>
                      </a:cubicBezTo>
                      <a:cubicBezTo>
                        <a:pt x="503" y="684"/>
                        <a:pt x="492" y="689"/>
                        <a:pt x="484" y="697"/>
                      </a:cubicBezTo>
                      <a:cubicBezTo>
                        <a:pt x="425" y="684"/>
                        <a:pt x="425" y="684"/>
                        <a:pt x="425" y="684"/>
                      </a:cubicBezTo>
                      <a:cubicBezTo>
                        <a:pt x="424" y="680"/>
                        <a:pt x="421" y="676"/>
                        <a:pt x="418" y="673"/>
                      </a:cubicBezTo>
                      <a:cubicBezTo>
                        <a:pt x="419" y="669"/>
                        <a:pt x="419" y="669"/>
                        <a:pt x="419" y="669"/>
                      </a:cubicBezTo>
                      <a:cubicBezTo>
                        <a:pt x="468" y="507"/>
                        <a:pt x="468" y="507"/>
                        <a:pt x="468" y="507"/>
                      </a:cubicBezTo>
                      <a:cubicBezTo>
                        <a:pt x="477" y="503"/>
                        <a:pt x="484" y="497"/>
                        <a:pt x="489" y="489"/>
                      </a:cubicBezTo>
                      <a:cubicBezTo>
                        <a:pt x="532" y="489"/>
                        <a:pt x="532" y="489"/>
                        <a:pt x="532" y="489"/>
                      </a:cubicBezTo>
                      <a:cubicBezTo>
                        <a:pt x="537" y="497"/>
                        <a:pt x="545" y="504"/>
                        <a:pt x="554" y="507"/>
                      </a:cubicBezTo>
                      <a:lnTo>
                        <a:pt x="609" y="665"/>
                      </a:lnTo>
                      <a:close/>
                      <a:moveTo>
                        <a:pt x="570" y="423"/>
                      </a:moveTo>
                      <a:cubicBezTo>
                        <a:pt x="570" y="423"/>
                        <a:pt x="570" y="423"/>
                        <a:pt x="569" y="423"/>
                      </a:cubicBezTo>
                      <a:cubicBezTo>
                        <a:pt x="553" y="423"/>
                        <a:pt x="539" y="432"/>
                        <a:pt x="532" y="445"/>
                      </a:cubicBezTo>
                      <a:cubicBezTo>
                        <a:pt x="489" y="445"/>
                        <a:pt x="489" y="445"/>
                        <a:pt x="489" y="445"/>
                      </a:cubicBezTo>
                      <a:cubicBezTo>
                        <a:pt x="481" y="432"/>
                        <a:pt x="468" y="424"/>
                        <a:pt x="452" y="423"/>
                      </a:cubicBezTo>
                      <a:cubicBezTo>
                        <a:pt x="390" y="341"/>
                        <a:pt x="390" y="341"/>
                        <a:pt x="390" y="341"/>
                      </a:cubicBezTo>
                      <a:cubicBezTo>
                        <a:pt x="635" y="341"/>
                        <a:pt x="635" y="341"/>
                        <a:pt x="635" y="341"/>
                      </a:cubicBezTo>
                      <a:cubicBezTo>
                        <a:pt x="635" y="342"/>
                        <a:pt x="636" y="342"/>
                        <a:pt x="636" y="343"/>
                      </a:cubicBezTo>
                      <a:lnTo>
                        <a:pt x="570" y="423"/>
                      </a:lnTo>
                      <a:close/>
                      <a:moveTo>
                        <a:pt x="703" y="290"/>
                      </a:moveTo>
                      <a:cubicBezTo>
                        <a:pt x="696" y="283"/>
                        <a:pt x="686" y="279"/>
                        <a:pt x="674" y="279"/>
                      </a:cubicBezTo>
                      <a:cubicBezTo>
                        <a:pt x="660" y="279"/>
                        <a:pt x="647" y="286"/>
                        <a:pt x="639" y="297"/>
                      </a:cubicBezTo>
                      <a:cubicBezTo>
                        <a:pt x="380" y="297"/>
                        <a:pt x="380" y="297"/>
                        <a:pt x="380" y="297"/>
                      </a:cubicBezTo>
                      <a:cubicBezTo>
                        <a:pt x="372" y="286"/>
                        <a:pt x="359" y="279"/>
                        <a:pt x="344" y="279"/>
                      </a:cubicBezTo>
                      <a:cubicBezTo>
                        <a:pt x="333" y="279"/>
                        <a:pt x="322" y="284"/>
                        <a:pt x="315" y="291"/>
                      </a:cubicBezTo>
                      <a:cubicBezTo>
                        <a:pt x="109" y="251"/>
                        <a:pt x="109" y="251"/>
                        <a:pt x="109" y="251"/>
                      </a:cubicBezTo>
                      <a:cubicBezTo>
                        <a:pt x="186" y="125"/>
                        <a:pt x="322" y="44"/>
                        <a:pt x="481" y="44"/>
                      </a:cubicBezTo>
                      <a:cubicBezTo>
                        <a:pt x="637" y="44"/>
                        <a:pt x="772" y="124"/>
                        <a:pt x="848" y="246"/>
                      </a:cubicBezTo>
                      <a:lnTo>
                        <a:pt x="703"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6">
                  <a:extLst>
                    <a:ext uri="{FF2B5EF4-FFF2-40B4-BE49-F238E27FC236}">
                      <a16:creationId xmlns:a16="http://schemas.microsoft.com/office/drawing/2014/main" id="{7A590CA1-ACC2-44C4-A69F-7631C17AB783}"/>
                    </a:ext>
                  </a:extLst>
                </p:cNvPr>
                <p:cNvSpPr>
                  <a:spLocks/>
                </p:cNvSpPr>
                <p:nvPr/>
              </p:nvSpPr>
              <p:spPr bwMode="auto">
                <a:xfrm>
                  <a:off x="5373687" y="2738438"/>
                  <a:ext cx="1443038" cy="1377949"/>
                </a:xfrm>
                <a:custGeom>
                  <a:avLst/>
                  <a:gdLst>
                    <a:gd name="connsiteX0" fmla="*/ 1427273 w 1443038"/>
                    <a:gd name="connsiteY0" fmla="*/ 1274762 h 1377949"/>
                    <a:gd name="connsiteX1" fmla="*/ 1443038 w 1443038"/>
                    <a:gd name="connsiteY1" fmla="*/ 1290527 h 1377949"/>
                    <a:gd name="connsiteX2" fmla="*/ 1443038 w 1443038"/>
                    <a:gd name="connsiteY2" fmla="*/ 1362184 h 1377949"/>
                    <a:gd name="connsiteX3" fmla="*/ 1427273 w 1443038"/>
                    <a:gd name="connsiteY3" fmla="*/ 1377949 h 1377949"/>
                    <a:gd name="connsiteX4" fmla="*/ 1355615 w 1443038"/>
                    <a:gd name="connsiteY4" fmla="*/ 1377949 h 1377949"/>
                    <a:gd name="connsiteX5" fmla="*/ 1339850 w 1443038"/>
                    <a:gd name="connsiteY5" fmla="*/ 1362184 h 1377949"/>
                    <a:gd name="connsiteX6" fmla="*/ 1355615 w 1443038"/>
                    <a:gd name="connsiteY6" fmla="*/ 1346420 h 1377949"/>
                    <a:gd name="connsiteX7" fmla="*/ 1411509 w 1443038"/>
                    <a:gd name="connsiteY7" fmla="*/ 1346420 h 1377949"/>
                    <a:gd name="connsiteX8" fmla="*/ 1411509 w 1443038"/>
                    <a:gd name="connsiteY8" fmla="*/ 1290527 h 1377949"/>
                    <a:gd name="connsiteX9" fmla="*/ 1427273 w 1443038"/>
                    <a:gd name="connsiteY9" fmla="*/ 1274762 h 1377949"/>
                    <a:gd name="connsiteX10" fmla="*/ 15765 w 1443038"/>
                    <a:gd name="connsiteY10" fmla="*/ 1274762 h 1377949"/>
                    <a:gd name="connsiteX11" fmla="*/ 31529 w 1443038"/>
                    <a:gd name="connsiteY11" fmla="*/ 1290527 h 1377949"/>
                    <a:gd name="connsiteX12" fmla="*/ 31529 w 1443038"/>
                    <a:gd name="connsiteY12" fmla="*/ 1346420 h 1377949"/>
                    <a:gd name="connsiteX13" fmla="*/ 87423 w 1443038"/>
                    <a:gd name="connsiteY13" fmla="*/ 1346420 h 1377949"/>
                    <a:gd name="connsiteX14" fmla="*/ 103188 w 1443038"/>
                    <a:gd name="connsiteY14" fmla="*/ 1362184 h 1377949"/>
                    <a:gd name="connsiteX15" fmla="*/ 87423 w 1443038"/>
                    <a:gd name="connsiteY15" fmla="*/ 1377949 h 1377949"/>
                    <a:gd name="connsiteX16" fmla="*/ 15765 w 1443038"/>
                    <a:gd name="connsiteY16" fmla="*/ 1377949 h 1377949"/>
                    <a:gd name="connsiteX17" fmla="*/ 0 w 1443038"/>
                    <a:gd name="connsiteY17" fmla="*/ 1362184 h 1377949"/>
                    <a:gd name="connsiteX18" fmla="*/ 0 w 1443038"/>
                    <a:gd name="connsiteY18" fmla="*/ 1290527 h 1377949"/>
                    <a:gd name="connsiteX19" fmla="*/ 15765 w 1443038"/>
                    <a:gd name="connsiteY19" fmla="*/ 1274762 h 1377949"/>
                    <a:gd name="connsiteX20" fmla="*/ 502474 w 1443038"/>
                    <a:gd name="connsiteY20" fmla="*/ 969962 h 1377949"/>
                    <a:gd name="connsiteX21" fmla="*/ 513894 w 1443038"/>
                    <a:gd name="connsiteY21" fmla="*/ 969962 h 1377949"/>
                    <a:gd name="connsiteX22" fmla="*/ 533880 w 1443038"/>
                    <a:gd name="connsiteY22" fmla="*/ 986406 h 1377949"/>
                    <a:gd name="connsiteX23" fmla="*/ 544586 w 1443038"/>
                    <a:gd name="connsiteY23" fmla="*/ 994985 h 1377949"/>
                    <a:gd name="connsiteX24" fmla="*/ 718030 w 1443038"/>
                    <a:gd name="connsiteY24" fmla="*/ 1137261 h 1377949"/>
                    <a:gd name="connsiteX25" fmla="*/ 726595 w 1443038"/>
                    <a:gd name="connsiteY25" fmla="*/ 1136546 h 1377949"/>
                    <a:gd name="connsiteX26" fmla="*/ 900038 w 1443038"/>
                    <a:gd name="connsiteY26" fmla="*/ 994985 h 1377949"/>
                    <a:gd name="connsiteX27" fmla="*/ 910745 w 1443038"/>
                    <a:gd name="connsiteY27" fmla="*/ 986406 h 1377949"/>
                    <a:gd name="connsiteX28" fmla="*/ 930730 w 1443038"/>
                    <a:gd name="connsiteY28" fmla="*/ 969962 h 1377949"/>
                    <a:gd name="connsiteX29" fmla="*/ 942150 w 1443038"/>
                    <a:gd name="connsiteY29" fmla="*/ 969962 h 1377949"/>
                    <a:gd name="connsiteX30" fmla="*/ 1207669 w 1443038"/>
                    <a:gd name="connsiteY30" fmla="*/ 1017149 h 1377949"/>
                    <a:gd name="connsiteX31" fmla="*/ 1363268 w 1443038"/>
                    <a:gd name="connsiteY31" fmla="*/ 1243789 h 1377949"/>
                    <a:gd name="connsiteX32" fmla="*/ 1348279 w 1443038"/>
                    <a:gd name="connsiteY32" fmla="*/ 1265237 h 1377949"/>
                    <a:gd name="connsiteX33" fmla="*/ 96345 w 1443038"/>
                    <a:gd name="connsiteY33" fmla="*/ 1265237 h 1377949"/>
                    <a:gd name="connsiteX34" fmla="*/ 81356 w 1443038"/>
                    <a:gd name="connsiteY34" fmla="*/ 1243789 h 1377949"/>
                    <a:gd name="connsiteX35" fmla="*/ 236956 w 1443038"/>
                    <a:gd name="connsiteY35" fmla="*/ 1017149 h 1377949"/>
                    <a:gd name="connsiteX36" fmla="*/ 502474 w 1443038"/>
                    <a:gd name="connsiteY36" fmla="*/ 969962 h 1377949"/>
                    <a:gd name="connsiteX37" fmla="*/ 461962 w 1443038"/>
                    <a:gd name="connsiteY37" fmla="*/ 736600 h 1377949"/>
                    <a:gd name="connsiteX38" fmla="*/ 496284 w 1443038"/>
                    <a:gd name="connsiteY38" fmla="*/ 736600 h 1377949"/>
                    <a:gd name="connsiteX39" fmla="*/ 559922 w 1443038"/>
                    <a:gd name="connsiteY39" fmla="*/ 858347 h 1377949"/>
                    <a:gd name="connsiteX40" fmla="*/ 567072 w 1443038"/>
                    <a:gd name="connsiteY40" fmla="*/ 864043 h 1377949"/>
                    <a:gd name="connsiteX41" fmla="*/ 595673 w 1443038"/>
                    <a:gd name="connsiteY41" fmla="*/ 885402 h 1377949"/>
                    <a:gd name="connsiteX42" fmla="*/ 721519 w 1443038"/>
                    <a:gd name="connsiteY42" fmla="*/ 938800 h 1377949"/>
                    <a:gd name="connsiteX43" fmla="*/ 847364 w 1443038"/>
                    <a:gd name="connsiteY43" fmla="*/ 885402 h 1377949"/>
                    <a:gd name="connsiteX44" fmla="*/ 875966 w 1443038"/>
                    <a:gd name="connsiteY44" fmla="*/ 864043 h 1377949"/>
                    <a:gd name="connsiteX45" fmla="*/ 883116 w 1443038"/>
                    <a:gd name="connsiteY45" fmla="*/ 858347 h 1377949"/>
                    <a:gd name="connsiteX46" fmla="*/ 946754 w 1443038"/>
                    <a:gd name="connsiteY46" fmla="*/ 736600 h 1377949"/>
                    <a:gd name="connsiteX47" fmla="*/ 981075 w 1443038"/>
                    <a:gd name="connsiteY47" fmla="*/ 736600 h 1377949"/>
                    <a:gd name="connsiteX48" fmla="*/ 918152 w 1443038"/>
                    <a:gd name="connsiteY48" fmla="*/ 864043 h 1377949"/>
                    <a:gd name="connsiteX49" fmla="*/ 910287 w 1443038"/>
                    <a:gd name="connsiteY49" fmla="*/ 874722 h 1377949"/>
                    <a:gd name="connsiteX50" fmla="*/ 910287 w 1443038"/>
                    <a:gd name="connsiteY50" fmla="*/ 916728 h 1377949"/>
                    <a:gd name="connsiteX51" fmla="*/ 910287 w 1443038"/>
                    <a:gd name="connsiteY51" fmla="*/ 945919 h 1377949"/>
                    <a:gd name="connsiteX52" fmla="*/ 878826 w 1443038"/>
                    <a:gd name="connsiteY52" fmla="*/ 971550 h 1377949"/>
                    <a:gd name="connsiteX53" fmla="*/ 878826 w 1443038"/>
                    <a:gd name="connsiteY53" fmla="*/ 939511 h 1377949"/>
                    <a:gd name="connsiteX54" fmla="*/ 878826 w 1443038"/>
                    <a:gd name="connsiteY54" fmla="*/ 901065 h 1377949"/>
                    <a:gd name="connsiteX55" fmla="*/ 847364 w 1443038"/>
                    <a:gd name="connsiteY55" fmla="*/ 922424 h 1377949"/>
                    <a:gd name="connsiteX56" fmla="*/ 721519 w 1443038"/>
                    <a:gd name="connsiteY56" fmla="*/ 970126 h 1377949"/>
                    <a:gd name="connsiteX57" fmla="*/ 595673 w 1443038"/>
                    <a:gd name="connsiteY57" fmla="*/ 922424 h 1377949"/>
                    <a:gd name="connsiteX58" fmla="*/ 564212 w 1443038"/>
                    <a:gd name="connsiteY58" fmla="*/ 901065 h 1377949"/>
                    <a:gd name="connsiteX59" fmla="*/ 564212 w 1443038"/>
                    <a:gd name="connsiteY59" fmla="*/ 939511 h 1377949"/>
                    <a:gd name="connsiteX60" fmla="*/ 564212 w 1443038"/>
                    <a:gd name="connsiteY60" fmla="*/ 971550 h 1377949"/>
                    <a:gd name="connsiteX61" fmla="*/ 532750 w 1443038"/>
                    <a:gd name="connsiteY61" fmla="*/ 945919 h 1377949"/>
                    <a:gd name="connsiteX62" fmla="*/ 532750 w 1443038"/>
                    <a:gd name="connsiteY62" fmla="*/ 916728 h 1377949"/>
                    <a:gd name="connsiteX63" fmla="*/ 532750 w 1443038"/>
                    <a:gd name="connsiteY63" fmla="*/ 874722 h 1377949"/>
                    <a:gd name="connsiteX64" fmla="*/ 524885 w 1443038"/>
                    <a:gd name="connsiteY64" fmla="*/ 864043 h 1377949"/>
                    <a:gd name="connsiteX65" fmla="*/ 461962 w 1443038"/>
                    <a:gd name="connsiteY65" fmla="*/ 736600 h 1377949"/>
                    <a:gd name="connsiteX66" fmla="*/ 195101 w 1443038"/>
                    <a:gd name="connsiteY66" fmla="*/ 673100 h 1377949"/>
                    <a:gd name="connsiteX67" fmla="*/ 396526 w 1443038"/>
                    <a:gd name="connsiteY67" fmla="*/ 673100 h 1377949"/>
                    <a:gd name="connsiteX68" fmla="*/ 435810 w 1443038"/>
                    <a:gd name="connsiteY68" fmla="*/ 673100 h 1377949"/>
                    <a:gd name="connsiteX69" fmla="*/ 470095 w 1443038"/>
                    <a:gd name="connsiteY69" fmla="*/ 673100 h 1377949"/>
                    <a:gd name="connsiteX70" fmla="*/ 503666 w 1443038"/>
                    <a:gd name="connsiteY70" fmla="*/ 673100 h 1377949"/>
                    <a:gd name="connsiteX71" fmla="*/ 679377 w 1443038"/>
                    <a:gd name="connsiteY71" fmla="*/ 673100 h 1377949"/>
                    <a:gd name="connsiteX72" fmla="*/ 715090 w 1443038"/>
                    <a:gd name="connsiteY72" fmla="*/ 673100 h 1377949"/>
                    <a:gd name="connsiteX73" fmla="*/ 760804 w 1443038"/>
                    <a:gd name="connsiteY73" fmla="*/ 673100 h 1377949"/>
                    <a:gd name="connsiteX74" fmla="*/ 795803 w 1443038"/>
                    <a:gd name="connsiteY74" fmla="*/ 673100 h 1377949"/>
                    <a:gd name="connsiteX75" fmla="*/ 939371 w 1443038"/>
                    <a:gd name="connsiteY75" fmla="*/ 673100 h 1377949"/>
                    <a:gd name="connsiteX76" fmla="*/ 972942 w 1443038"/>
                    <a:gd name="connsiteY76" fmla="*/ 673100 h 1377949"/>
                    <a:gd name="connsiteX77" fmla="*/ 1007227 w 1443038"/>
                    <a:gd name="connsiteY77" fmla="*/ 673100 h 1377949"/>
                    <a:gd name="connsiteX78" fmla="*/ 1046512 w 1443038"/>
                    <a:gd name="connsiteY78" fmla="*/ 673100 h 1377949"/>
                    <a:gd name="connsiteX79" fmla="*/ 1247936 w 1443038"/>
                    <a:gd name="connsiteY79" fmla="*/ 673100 h 1377949"/>
                    <a:gd name="connsiteX80" fmla="*/ 1263650 w 1443038"/>
                    <a:gd name="connsiteY80" fmla="*/ 688975 h 1377949"/>
                    <a:gd name="connsiteX81" fmla="*/ 1247936 w 1443038"/>
                    <a:gd name="connsiteY81" fmla="*/ 704850 h 1377949"/>
                    <a:gd name="connsiteX82" fmla="*/ 1027941 w 1443038"/>
                    <a:gd name="connsiteY82" fmla="*/ 704850 h 1377949"/>
                    <a:gd name="connsiteX83" fmla="*/ 994370 w 1443038"/>
                    <a:gd name="connsiteY83" fmla="*/ 704850 h 1377949"/>
                    <a:gd name="connsiteX84" fmla="*/ 960085 w 1443038"/>
                    <a:gd name="connsiteY84" fmla="*/ 704850 h 1377949"/>
                    <a:gd name="connsiteX85" fmla="*/ 925800 w 1443038"/>
                    <a:gd name="connsiteY85" fmla="*/ 704850 h 1377949"/>
                    <a:gd name="connsiteX86" fmla="*/ 770089 w 1443038"/>
                    <a:gd name="connsiteY86" fmla="*/ 704850 h 1377949"/>
                    <a:gd name="connsiteX87" fmla="*/ 705805 w 1443038"/>
                    <a:gd name="connsiteY87" fmla="*/ 704850 h 1377949"/>
                    <a:gd name="connsiteX88" fmla="*/ 517237 w 1443038"/>
                    <a:gd name="connsiteY88" fmla="*/ 704850 h 1377949"/>
                    <a:gd name="connsiteX89" fmla="*/ 482952 w 1443038"/>
                    <a:gd name="connsiteY89" fmla="*/ 704850 h 1377949"/>
                    <a:gd name="connsiteX90" fmla="*/ 448667 w 1443038"/>
                    <a:gd name="connsiteY90" fmla="*/ 704850 h 1377949"/>
                    <a:gd name="connsiteX91" fmla="*/ 415097 w 1443038"/>
                    <a:gd name="connsiteY91" fmla="*/ 704850 h 1377949"/>
                    <a:gd name="connsiteX92" fmla="*/ 195101 w 1443038"/>
                    <a:gd name="connsiteY92" fmla="*/ 704850 h 1377949"/>
                    <a:gd name="connsiteX93" fmla="*/ 179387 w 1443038"/>
                    <a:gd name="connsiteY93" fmla="*/ 688975 h 1377949"/>
                    <a:gd name="connsiteX94" fmla="*/ 195101 w 1443038"/>
                    <a:gd name="connsiteY94" fmla="*/ 673100 h 1377949"/>
                    <a:gd name="connsiteX95" fmla="*/ 1062037 w 1443038"/>
                    <a:gd name="connsiteY95" fmla="*/ 579437 h 1377949"/>
                    <a:gd name="connsiteX96" fmla="*/ 1062037 w 1443038"/>
                    <a:gd name="connsiteY96" fmla="*/ 581548 h 1377949"/>
                    <a:gd name="connsiteX97" fmla="*/ 1034263 w 1443038"/>
                    <a:gd name="connsiteY97" fmla="*/ 641349 h 1377949"/>
                    <a:gd name="connsiteX98" fmla="*/ 985837 w 1443038"/>
                    <a:gd name="connsiteY98" fmla="*/ 641349 h 1377949"/>
                    <a:gd name="connsiteX99" fmla="*/ 992959 w 1443038"/>
                    <a:gd name="connsiteY99" fmla="*/ 633610 h 1377949"/>
                    <a:gd name="connsiteX100" fmla="*/ 1025718 w 1443038"/>
                    <a:gd name="connsiteY100" fmla="*/ 596322 h 1377949"/>
                    <a:gd name="connsiteX101" fmla="*/ 1062037 w 1443038"/>
                    <a:gd name="connsiteY101" fmla="*/ 579437 h 1377949"/>
                    <a:gd name="connsiteX102" fmla="*/ 381000 w 1443038"/>
                    <a:gd name="connsiteY102" fmla="*/ 579437 h 1377949"/>
                    <a:gd name="connsiteX103" fmla="*/ 417320 w 1443038"/>
                    <a:gd name="connsiteY103" fmla="*/ 596322 h 1377949"/>
                    <a:gd name="connsiteX104" fmla="*/ 450079 w 1443038"/>
                    <a:gd name="connsiteY104" fmla="*/ 633610 h 1377949"/>
                    <a:gd name="connsiteX105" fmla="*/ 457200 w 1443038"/>
                    <a:gd name="connsiteY105" fmla="*/ 641349 h 1377949"/>
                    <a:gd name="connsiteX106" fmla="*/ 408774 w 1443038"/>
                    <a:gd name="connsiteY106" fmla="*/ 641349 h 1377949"/>
                    <a:gd name="connsiteX107" fmla="*/ 381000 w 1443038"/>
                    <a:gd name="connsiteY107" fmla="*/ 582955 h 1377949"/>
                    <a:gd name="connsiteX108" fmla="*/ 381000 w 1443038"/>
                    <a:gd name="connsiteY108" fmla="*/ 579437 h 1377949"/>
                    <a:gd name="connsiteX109" fmla="*/ 1355615 w 1443038"/>
                    <a:gd name="connsiteY109" fmla="*/ 0 h 1377949"/>
                    <a:gd name="connsiteX110" fmla="*/ 1427273 w 1443038"/>
                    <a:gd name="connsiteY110" fmla="*/ 0 h 1377949"/>
                    <a:gd name="connsiteX111" fmla="*/ 1443038 w 1443038"/>
                    <a:gd name="connsiteY111" fmla="*/ 15765 h 1377949"/>
                    <a:gd name="connsiteX112" fmla="*/ 1443038 w 1443038"/>
                    <a:gd name="connsiteY112" fmla="*/ 87422 h 1377949"/>
                    <a:gd name="connsiteX113" fmla="*/ 1427273 w 1443038"/>
                    <a:gd name="connsiteY113" fmla="*/ 103187 h 1377949"/>
                    <a:gd name="connsiteX114" fmla="*/ 1411509 w 1443038"/>
                    <a:gd name="connsiteY114" fmla="*/ 87422 h 1377949"/>
                    <a:gd name="connsiteX115" fmla="*/ 1411509 w 1443038"/>
                    <a:gd name="connsiteY115" fmla="*/ 31529 h 1377949"/>
                    <a:gd name="connsiteX116" fmla="*/ 1355615 w 1443038"/>
                    <a:gd name="connsiteY116" fmla="*/ 31529 h 1377949"/>
                    <a:gd name="connsiteX117" fmla="*/ 1339850 w 1443038"/>
                    <a:gd name="connsiteY117" fmla="*/ 15765 h 1377949"/>
                    <a:gd name="connsiteX118" fmla="*/ 1355615 w 1443038"/>
                    <a:gd name="connsiteY118" fmla="*/ 0 h 1377949"/>
                    <a:gd name="connsiteX119" fmla="*/ 15765 w 1443038"/>
                    <a:gd name="connsiteY119" fmla="*/ 0 h 1377949"/>
                    <a:gd name="connsiteX120" fmla="*/ 87423 w 1443038"/>
                    <a:gd name="connsiteY120" fmla="*/ 0 h 1377949"/>
                    <a:gd name="connsiteX121" fmla="*/ 103188 w 1443038"/>
                    <a:gd name="connsiteY121" fmla="*/ 15765 h 1377949"/>
                    <a:gd name="connsiteX122" fmla="*/ 87423 w 1443038"/>
                    <a:gd name="connsiteY122" fmla="*/ 31529 h 1377949"/>
                    <a:gd name="connsiteX123" fmla="*/ 31529 w 1443038"/>
                    <a:gd name="connsiteY123" fmla="*/ 31529 h 1377949"/>
                    <a:gd name="connsiteX124" fmla="*/ 31529 w 1443038"/>
                    <a:gd name="connsiteY124" fmla="*/ 87422 h 1377949"/>
                    <a:gd name="connsiteX125" fmla="*/ 15765 w 1443038"/>
                    <a:gd name="connsiteY125" fmla="*/ 103187 h 1377949"/>
                    <a:gd name="connsiteX126" fmla="*/ 0 w 1443038"/>
                    <a:gd name="connsiteY126" fmla="*/ 87422 h 1377949"/>
                    <a:gd name="connsiteX127" fmla="*/ 0 w 1443038"/>
                    <a:gd name="connsiteY127" fmla="*/ 15765 h 1377949"/>
                    <a:gd name="connsiteX128" fmla="*/ 15765 w 1443038"/>
                    <a:gd name="connsiteY128" fmla="*/ 0 h 13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443038" h="1377949">
                      <a:moveTo>
                        <a:pt x="1427273" y="1274762"/>
                      </a:moveTo>
                      <a:cubicBezTo>
                        <a:pt x="1435872" y="1274762"/>
                        <a:pt x="1443038" y="1281928"/>
                        <a:pt x="1443038" y="1290527"/>
                      </a:cubicBezTo>
                      <a:cubicBezTo>
                        <a:pt x="1443038" y="1290527"/>
                        <a:pt x="1443038" y="1290527"/>
                        <a:pt x="1443038" y="1362184"/>
                      </a:cubicBezTo>
                      <a:cubicBezTo>
                        <a:pt x="1443038" y="1371500"/>
                        <a:pt x="1435872" y="1377949"/>
                        <a:pt x="1427273" y="1377949"/>
                      </a:cubicBezTo>
                      <a:cubicBezTo>
                        <a:pt x="1427273" y="1377949"/>
                        <a:pt x="1427273" y="1377949"/>
                        <a:pt x="1355615" y="1377949"/>
                      </a:cubicBezTo>
                      <a:cubicBezTo>
                        <a:pt x="1347016" y="1377949"/>
                        <a:pt x="1339850" y="1371500"/>
                        <a:pt x="1339850" y="1362184"/>
                      </a:cubicBezTo>
                      <a:cubicBezTo>
                        <a:pt x="1339850" y="1353586"/>
                        <a:pt x="1347016" y="1346420"/>
                        <a:pt x="1355615" y="1346420"/>
                      </a:cubicBezTo>
                      <a:cubicBezTo>
                        <a:pt x="1355615" y="1346420"/>
                        <a:pt x="1355615" y="1346420"/>
                        <a:pt x="1411509" y="1346420"/>
                      </a:cubicBezTo>
                      <a:cubicBezTo>
                        <a:pt x="1411509" y="1346420"/>
                        <a:pt x="1411509" y="1346420"/>
                        <a:pt x="1411509" y="1290527"/>
                      </a:cubicBezTo>
                      <a:cubicBezTo>
                        <a:pt x="1411509" y="1281928"/>
                        <a:pt x="1418674" y="1274762"/>
                        <a:pt x="1427273" y="1274762"/>
                      </a:cubicBezTo>
                      <a:close/>
                      <a:moveTo>
                        <a:pt x="15765" y="1274762"/>
                      </a:moveTo>
                      <a:cubicBezTo>
                        <a:pt x="24364" y="1274762"/>
                        <a:pt x="31529" y="1281928"/>
                        <a:pt x="31529" y="1290527"/>
                      </a:cubicBezTo>
                      <a:cubicBezTo>
                        <a:pt x="31529" y="1290527"/>
                        <a:pt x="31529" y="1290527"/>
                        <a:pt x="31529" y="1346420"/>
                      </a:cubicBezTo>
                      <a:cubicBezTo>
                        <a:pt x="31529" y="1346420"/>
                        <a:pt x="31529" y="1346420"/>
                        <a:pt x="87423" y="1346420"/>
                      </a:cubicBezTo>
                      <a:cubicBezTo>
                        <a:pt x="96022" y="1346420"/>
                        <a:pt x="103188" y="1353586"/>
                        <a:pt x="103188" y="1362184"/>
                      </a:cubicBezTo>
                      <a:cubicBezTo>
                        <a:pt x="103188" y="1371500"/>
                        <a:pt x="96022" y="1377949"/>
                        <a:pt x="87423" y="1377949"/>
                      </a:cubicBezTo>
                      <a:cubicBezTo>
                        <a:pt x="87423" y="1377949"/>
                        <a:pt x="87423" y="1377949"/>
                        <a:pt x="15765" y="1377949"/>
                      </a:cubicBezTo>
                      <a:cubicBezTo>
                        <a:pt x="7166" y="1377949"/>
                        <a:pt x="0" y="1371500"/>
                        <a:pt x="0" y="1362184"/>
                      </a:cubicBezTo>
                      <a:cubicBezTo>
                        <a:pt x="0" y="1362184"/>
                        <a:pt x="0" y="1362184"/>
                        <a:pt x="0" y="1290527"/>
                      </a:cubicBezTo>
                      <a:cubicBezTo>
                        <a:pt x="0" y="1281928"/>
                        <a:pt x="7166" y="1274762"/>
                        <a:pt x="15765" y="1274762"/>
                      </a:cubicBezTo>
                      <a:close/>
                      <a:moveTo>
                        <a:pt x="502474" y="969962"/>
                      </a:moveTo>
                      <a:cubicBezTo>
                        <a:pt x="509612" y="969962"/>
                        <a:pt x="513894" y="969962"/>
                        <a:pt x="513894" y="969962"/>
                      </a:cubicBezTo>
                      <a:cubicBezTo>
                        <a:pt x="513894" y="969962"/>
                        <a:pt x="521032" y="975682"/>
                        <a:pt x="533880" y="986406"/>
                      </a:cubicBezTo>
                      <a:cubicBezTo>
                        <a:pt x="537448" y="989266"/>
                        <a:pt x="541017" y="992126"/>
                        <a:pt x="544586" y="994985"/>
                      </a:cubicBezTo>
                      <a:cubicBezTo>
                        <a:pt x="588839" y="1032163"/>
                        <a:pt x="671635" y="1100083"/>
                        <a:pt x="718030" y="1137261"/>
                      </a:cubicBezTo>
                      <a:cubicBezTo>
                        <a:pt x="720885" y="1138691"/>
                        <a:pt x="724453" y="1138691"/>
                        <a:pt x="726595" y="1136546"/>
                      </a:cubicBezTo>
                      <a:cubicBezTo>
                        <a:pt x="787264" y="1087929"/>
                        <a:pt x="860068" y="1028588"/>
                        <a:pt x="900038" y="994985"/>
                      </a:cubicBezTo>
                      <a:cubicBezTo>
                        <a:pt x="903607" y="992126"/>
                        <a:pt x="907176" y="989266"/>
                        <a:pt x="910745" y="986406"/>
                      </a:cubicBezTo>
                      <a:cubicBezTo>
                        <a:pt x="923592" y="975682"/>
                        <a:pt x="930730" y="969962"/>
                        <a:pt x="930730" y="969962"/>
                      </a:cubicBezTo>
                      <a:cubicBezTo>
                        <a:pt x="930730" y="969962"/>
                        <a:pt x="935013" y="969962"/>
                        <a:pt x="942150" y="969962"/>
                      </a:cubicBezTo>
                      <a:cubicBezTo>
                        <a:pt x="982835" y="971392"/>
                        <a:pt x="1124873" y="978542"/>
                        <a:pt x="1207669" y="1017149"/>
                      </a:cubicBezTo>
                      <a:cubicBezTo>
                        <a:pt x="1286182" y="1052897"/>
                        <a:pt x="1343283" y="1190882"/>
                        <a:pt x="1363268" y="1243789"/>
                      </a:cubicBezTo>
                      <a:cubicBezTo>
                        <a:pt x="1366837" y="1253798"/>
                        <a:pt x="1359700" y="1265237"/>
                        <a:pt x="1348279" y="1265237"/>
                      </a:cubicBezTo>
                      <a:cubicBezTo>
                        <a:pt x="1348279" y="1265237"/>
                        <a:pt x="1348279" y="1265237"/>
                        <a:pt x="96345" y="1265237"/>
                      </a:cubicBezTo>
                      <a:cubicBezTo>
                        <a:pt x="84924" y="1265237"/>
                        <a:pt x="77787" y="1253798"/>
                        <a:pt x="81356" y="1243789"/>
                      </a:cubicBezTo>
                      <a:cubicBezTo>
                        <a:pt x="101341" y="1190882"/>
                        <a:pt x="158442" y="1052897"/>
                        <a:pt x="236956" y="1017149"/>
                      </a:cubicBezTo>
                      <a:cubicBezTo>
                        <a:pt x="319752" y="978542"/>
                        <a:pt x="461790" y="971392"/>
                        <a:pt x="502474" y="969962"/>
                      </a:cubicBezTo>
                      <a:close/>
                      <a:moveTo>
                        <a:pt x="461962" y="736600"/>
                      </a:moveTo>
                      <a:cubicBezTo>
                        <a:pt x="461962" y="736600"/>
                        <a:pt x="461962" y="736600"/>
                        <a:pt x="496284" y="736600"/>
                      </a:cubicBezTo>
                      <a:cubicBezTo>
                        <a:pt x="520595" y="792846"/>
                        <a:pt x="547051" y="846955"/>
                        <a:pt x="559922" y="858347"/>
                      </a:cubicBezTo>
                      <a:cubicBezTo>
                        <a:pt x="562067" y="860483"/>
                        <a:pt x="564927" y="861907"/>
                        <a:pt x="567072" y="864043"/>
                      </a:cubicBezTo>
                      <a:cubicBezTo>
                        <a:pt x="574937" y="870450"/>
                        <a:pt x="584948" y="877570"/>
                        <a:pt x="595673" y="885402"/>
                      </a:cubicBezTo>
                      <a:cubicBezTo>
                        <a:pt x="634285" y="911033"/>
                        <a:pt x="687912" y="938800"/>
                        <a:pt x="721519" y="938800"/>
                      </a:cubicBezTo>
                      <a:cubicBezTo>
                        <a:pt x="755125" y="938800"/>
                        <a:pt x="808753" y="911033"/>
                        <a:pt x="847364" y="885402"/>
                      </a:cubicBezTo>
                      <a:cubicBezTo>
                        <a:pt x="858090" y="877570"/>
                        <a:pt x="868100" y="870450"/>
                        <a:pt x="875966" y="864043"/>
                      </a:cubicBezTo>
                      <a:cubicBezTo>
                        <a:pt x="878111" y="861907"/>
                        <a:pt x="880971" y="860483"/>
                        <a:pt x="883116" y="858347"/>
                      </a:cubicBezTo>
                      <a:cubicBezTo>
                        <a:pt x="895986" y="846955"/>
                        <a:pt x="922443" y="792846"/>
                        <a:pt x="946754" y="736600"/>
                      </a:cubicBezTo>
                      <a:cubicBezTo>
                        <a:pt x="946754" y="736600"/>
                        <a:pt x="946754" y="736600"/>
                        <a:pt x="981075" y="736600"/>
                      </a:cubicBezTo>
                      <a:cubicBezTo>
                        <a:pt x="961769" y="782878"/>
                        <a:pt x="936743" y="835564"/>
                        <a:pt x="918152" y="864043"/>
                      </a:cubicBezTo>
                      <a:cubicBezTo>
                        <a:pt x="915292" y="868315"/>
                        <a:pt x="912432" y="871874"/>
                        <a:pt x="910287" y="874722"/>
                      </a:cubicBezTo>
                      <a:cubicBezTo>
                        <a:pt x="910287" y="874722"/>
                        <a:pt x="910287" y="874722"/>
                        <a:pt x="910287" y="916728"/>
                      </a:cubicBezTo>
                      <a:cubicBezTo>
                        <a:pt x="910287" y="916728"/>
                        <a:pt x="910287" y="916728"/>
                        <a:pt x="910287" y="945919"/>
                      </a:cubicBezTo>
                      <a:cubicBezTo>
                        <a:pt x="908142" y="947343"/>
                        <a:pt x="896701" y="957311"/>
                        <a:pt x="878826" y="971550"/>
                      </a:cubicBezTo>
                      <a:lnTo>
                        <a:pt x="878826" y="939511"/>
                      </a:lnTo>
                      <a:cubicBezTo>
                        <a:pt x="878826" y="939511"/>
                        <a:pt x="878826" y="939511"/>
                        <a:pt x="878826" y="901065"/>
                      </a:cubicBezTo>
                      <a:cubicBezTo>
                        <a:pt x="869530" y="908185"/>
                        <a:pt x="858805" y="915305"/>
                        <a:pt x="847364" y="922424"/>
                      </a:cubicBezTo>
                      <a:cubicBezTo>
                        <a:pt x="807323" y="946631"/>
                        <a:pt x="757985" y="970126"/>
                        <a:pt x="721519" y="970126"/>
                      </a:cubicBezTo>
                      <a:cubicBezTo>
                        <a:pt x="685052" y="970126"/>
                        <a:pt x="635715" y="946631"/>
                        <a:pt x="595673" y="922424"/>
                      </a:cubicBezTo>
                      <a:cubicBezTo>
                        <a:pt x="584233" y="915305"/>
                        <a:pt x="573507" y="908185"/>
                        <a:pt x="564212" y="901065"/>
                      </a:cubicBezTo>
                      <a:cubicBezTo>
                        <a:pt x="564212" y="901065"/>
                        <a:pt x="564212" y="901065"/>
                        <a:pt x="564212" y="939511"/>
                      </a:cubicBezTo>
                      <a:cubicBezTo>
                        <a:pt x="564212" y="939511"/>
                        <a:pt x="564212" y="939511"/>
                        <a:pt x="564212" y="971550"/>
                      </a:cubicBezTo>
                      <a:cubicBezTo>
                        <a:pt x="547051" y="957311"/>
                        <a:pt x="534895" y="947343"/>
                        <a:pt x="532750" y="945919"/>
                      </a:cubicBezTo>
                      <a:cubicBezTo>
                        <a:pt x="532750" y="945919"/>
                        <a:pt x="532750" y="945919"/>
                        <a:pt x="532750" y="916728"/>
                      </a:cubicBezTo>
                      <a:cubicBezTo>
                        <a:pt x="532750" y="916728"/>
                        <a:pt x="532750" y="916728"/>
                        <a:pt x="532750" y="874722"/>
                      </a:cubicBezTo>
                      <a:cubicBezTo>
                        <a:pt x="530605" y="871874"/>
                        <a:pt x="527745" y="868315"/>
                        <a:pt x="524885" y="864043"/>
                      </a:cubicBezTo>
                      <a:cubicBezTo>
                        <a:pt x="506294" y="835564"/>
                        <a:pt x="481268" y="782878"/>
                        <a:pt x="461962" y="736600"/>
                      </a:cubicBezTo>
                      <a:close/>
                      <a:moveTo>
                        <a:pt x="195101" y="673100"/>
                      </a:moveTo>
                      <a:cubicBezTo>
                        <a:pt x="195101" y="673100"/>
                        <a:pt x="195101" y="673100"/>
                        <a:pt x="396526" y="673100"/>
                      </a:cubicBezTo>
                      <a:cubicBezTo>
                        <a:pt x="396526" y="673100"/>
                        <a:pt x="396526" y="673100"/>
                        <a:pt x="435810" y="673100"/>
                      </a:cubicBezTo>
                      <a:cubicBezTo>
                        <a:pt x="435810" y="673100"/>
                        <a:pt x="435810" y="673100"/>
                        <a:pt x="470095" y="673100"/>
                      </a:cubicBezTo>
                      <a:cubicBezTo>
                        <a:pt x="470095" y="673100"/>
                        <a:pt x="470095" y="673100"/>
                        <a:pt x="503666" y="673100"/>
                      </a:cubicBezTo>
                      <a:cubicBezTo>
                        <a:pt x="503666" y="673100"/>
                        <a:pt x="503666" y="673100"/>
                        <a:pt x="679377" y="673100"/>
                      </a:cubicBezTo>
                      <a:cubicBezTo>
                        <a:pt x="679377" y="673100"/>
                        <a:pt x="679377" y="673100"/>
                        <a:pt x="715090" y="673100"/>
                      </a:cubicBezTo>
                      <a:cubicBezTo>
                        <a:pt x="715090" y="673100"/>
                        <a:pt x="715090" y="673100"/>
                        <a:pt x="760804" y="673100"/>
                      </a:cubicBezTo>
                      <a:cubicBezTo>
                        <a:pt x="760804" y="673100"/>
                        <a:pt x="760804" y="673100"/>
                        <a:pt x="795803" y="673100"/>
                      </a:cubicBezTo>
                      <a:cubicBezTo>
                        <a:pt x="795803" y="673100"/>
                        <a:pt x="795803" y="673100"/>
                        <a:pt x="939371" y="673100"/>
                      </a:cubicBezTo>
                      <a:cubicBezTo>
                        <a:pt x="939371" y="673100"/>
                        <a:pt x="939371" y="673100"/>
                        <a:pt x="972942" y="673100"/>
                      </a:cubicBezTo>
                      <a:cubicBezTo>
                        <a:pt x="972942" y="673100"/>
                        <a:pt x="972942" y="673100"/>
                        <a:pt x="1007227" y="673100"/>
                      </a:cubicBezTo>
                      <a:cubicBezTo>
                        <a:pt x="1007227" y="673100"/>
                        <a:pt x="1007227" y="673100"/>
                        <a:pt x="1046512" y="673100"/>
                      </a:cubicBezTo>
                      <a:cubicBezTo>
                        <a:pt x="1046512" y="673100"/>
                        <a:pt x="1046512" y="673100"/>
                        <a:pt x="1247936" y="673100"/>
                      </a:cubicBezTo>
                      <a:cubicBezTo>
                        <a:pt x="1256507" y="673100"/>
                        <a:pt x="1263650" y="680316"/>
                        <a:pt x="1263650" y="688975"/>
                      </a:cubicBezTo>
                      <a:cubicBezTo>
                        <a:pt x="1263650" y="697634"/>
                        <a:pt x="1256507" y="704850"/>
                        <a:pt x="1247936" y="704850"/>
                      </a:cubicBezTo>
                      <a:cubicBezTo>
                        <a:pt x="1247936" y="704850"/>
                        <a:pt x="1247936" y="704850"/>
                        <a:pt x="1027941" y="704850"/>
                      </a:cubicBezTo>
                      <a:cubicBezTo>
                        <a:pt x="1027941" y="704850"/>
                        <a:pt x="1027941" y="704850"/>
                        <a:pt x="994370" y="704850"/>
                      </a:cubicBezTo>
                      <a:cubicBezTo>
                        <a:pt x="994370" y="704850"/>
                        <a:pt x="994370" y="704850"/>
                        <a:pt x="960085" y="704850"/>
                      </a:cubicBezTo>
                      <a:cubicBezTo>
                        <a:pt x="960085" y="704850"/>
                        <a:pt x="960085" y="704850"/>
                        <a:pt x="925800" y="704850"/>
                      </a:cubicBezTo>
                      <a:cubicBezTo>
                        <a:pt x="925800" y="704850"/>
                        <a:pt x="925800" y="704850"/>
                        <a:pt x="770089" y="704850"/>
                      </a:cubicBezTo>
                      <a:cubicBezTo>
                        <a:pt x="770089" y="704850"/>
                        <a:pt x="770089" y="704850"/>
                        <a:pt x="705805" y="704850"/>
                      </a:cubicBezTo>
                      <a:cubicBezTo>
                        <a:pt x="705805" y="704850"/>
                        <a:pt x="705805" y="704850"/>
                        <a:pt x="517237" y="704850"/>
                      </a:cubicBezTo>
                      <a:cubicBezTo>
                        <a:pt x="517237" y="704850"/>
                        <a:pt x="517237" y="704850"/>
                        <a:pt x="482952" y="704850"/>
                      </a:cubicBezTo>
                      <a:cubicBezTo>
                        <a:pt x="482952" y="704850"/>
                        <a:pt x="482952" y="704850"/>
                        <a:pt x="448667" y="704850"/>
                      </a:cubicBezTo>
                      <a:cubicBezTo>
                        <a:pt x="448667" y="704850"/>
                        <a:pt x="448667" y="704850"/>
                        <a:pt x="415097" y="704850"/>
                      </a:cubicBezTo>
                      <a:cubicBezTo>
                        <a:pt x="415097" y="704850"/>
                        <a:pt x="415097" y="704850"/>
                        <a:pt x="195101" y="704850"/>
                      </a:cubicBezTo>
                      <a:cubicBezTo>
                        <a:pt x="186530" y="704850"/>
                        <a:pt x="179387" y="697634"/>
                        <a:pt x="179387" y="688975"/>
                      </a:cubicBezTo>
                      <a:cubicBezTo>
                        <a:pt x="179387" y="680316"/>
                        <a:pt x="186530" y="673100"/>
                        <a:pt x="195101" y="673100"/>
                      </a:cubicBezTo>
                      <a:close/>
                      <a:moveTo>
                        <a:pt x="1062037" y="579437"/>
                      </a:moveTo>
                      <a:cubicBezTo>
                        <a:pt x="1062037" y="580140"/>
                        <a:pt x="1062037" y="580844"/>
                        <a:pt x="1062037" y="581548"/>
                      </a:cubicBezTo>
                      <a:cubicBezTo>
                        <a:pt x="1059901" y="594211"/>
                        <a:pt x="1054204" y="620243"/>
                        <a:pt x="1034263" y="641349"/>
                      </a:cubicBezTo>
                      <a:cubicBezTo>
                        <a:pt x="1034263" y="641349"/>
                        <a:pt x="1034263" y="641349"/>
                        <a:pt x="985837" y="641349"/>
                      </a:cubicBezTo>
                      <a:cubicBezTo>
                        <a:pt x="987262" y="637831"/>
                        <a:pt x="990110" y="635721"/>
                        <a:pt x="992959" y="633610"/>
                      </a:cubicBezTo>
                      <a:cubicBezTo>
                        <a:pt x="1010762" y="625167"/>
                        <a:pt x="1020733" y="609689"/>
                        <a:pt x="1025718" y="596322"/>
                      </a:cubicBezTo>
                      <a:cubicBezTo>
                        <a:pt x="1025718" y="596322"/>
                        <a:pt x="1025718" y="596322"/>
                        <a:pt x="1062037" y="579437"/>
                      </a:cubicBezTo>
                      <a:close/>
                      <a:moveTo>
                        <a:pt x="381000" y="579437"/>
                      </a:moveTo>
                      <a:cubicBezTo>
                        <a:pt x="381000" y="579437"/>
                        <a:pt x="381000" y="579437"/>
                        <a:pt x="417320" y="596322"/>
                      </a:cubicBezTo>
                      <a:cubicBezTo>
                        <a:pt x="422305" y="609689"/>
                        <a:pt x="432275" y="625167"/>
                        <a:pt x="450079" y="633610"/>
                      </a:cubicBezTo>
                      <a:cubicBezTo>
                        <a:pt x="452927" y="635721"/>
                        <a:pt x="455776" y="637831"/>
                        <a:pt x="457200" y="641349"/>
                      </a:cubicBezTo>
                      <a:cubicBezTo>
                        <a:pt x="457200" y="641349"/>
                        <a:pt x="457200" y="641349"/>
                        <a:pt x="408774" y="641349"/>
                      </a:cubicBezTo>
                      <a:cubicBezTo>
                        <a:pt x="390258" y="621650"/>
                        <a:pt x="383849" y="597729"/>
                        <a:pt x="381000" y="582955"/>
                      </a:cubicBezTo>
                      <a:cubicBezTo>
                        <a:pt x="381000" y="582251"/>
                        <a:pt x="381000" y="580844"/>
                        <a:pt x="381000" y="579437"/>
                      </a:cubicBezTo>
                      <a:close/>
                      <a:moveTo>
                        <a:pt x="1355615" y="0"/>
                      </a:moveTo>
                      <a:cubicBezTo>
                        <a:pt x="1355615" y="0"/>
                        <a:pt x="1355615" y="0"/>
                        <a:pt x="1427273" y="0"/>
                      </a:cubicBezTo>
                      <a:cubicBezTo>
                        <a:pt x="1435872" y="0"/>
                        <a:pt x="1443038" y="6449"/>
                        <a:pt x="1443038" y="15765"/>
                      </a:cubicBezTo>
                      <a:cubicBezTo>
                        <a:pt x="1443038" y="15765"/>
                        <a:pt x="1443038" y="15765"/>
                        <a:pt x="1443038" y="87422"/>
                      </a:cubicBezTo>
                      <a:cubicBezTo>
                        <a:pt x="1443038" y="96021"/>
                        <a:pt x="1435872" y="103187"/>
                        <a:pt x="1427273" y="103187"/>
                      </a:cubicBezTo>
                      <a:cubicBezTo>
                        <a:pt x="1418674" y="103187"/>
                        <a:pt x="1411509" y="96021"/>
                        <a:pt x="1411509" y="87422"/>
                      </a:cubicBezTo>
                      <a:cubicBezTo>
                        <a:pt x="1411509" y="87422"/>
                        <a:pt x="1411509" y="87422"/>
                        <a:pt x="1411509" y="31529"/>
                      </a:cubicBezTo>
                      <a:cubicBezTo>
                        <a:pt x="1411509" y="31529"/>
                        <a:pt x="1411509" y="31529"/>
                        <a:pt x="1355615" y="31529"/>
                      </a:cubicBezTo>
                      <a:cubicBezTo>
                        <a:pt x="1347016" y="31529"/>
                        <a:pt x="1339850" y="24363"/>
                        <a:pt x="1339850" y="15765"/>
                      </a:cubicBezTo>
                      <a:cubicBezTo>
                        <a:pt x="1339850" y="6449"/>
                        <a:pt x="1347016" y="0"/>
                        <a:pt x="1355615" y="0"/>
                      </a:cubicBezTo>
                      <a:close/>
                      <a:moveTo>
                        <a:pt x="15765" y="0"/>
                      </a:moveTo>
                      <a:cubicBezTo>
                        <a:pt x="15765" y="0"/>
                        <a:pt x="15765" y="0"/>
                        <a:pt x="87423" y="0"/>
                      </a:cubicBezTo>
                      <a:cubicBezTo>
                        <a:pt x="96022" y="0"/>
                        <a:pt x="103188" y="6449"/>
                        <a:pt x="103188" y="15765"/>
                      </a:cubicBezTo>
                      <a:cubicBezTo>
                        <a:pt x="103188" y="24363"/>
                        <a:pt x="96022" y="31529"/>
                        <a:pt x="87423" y="31529"/>
                      </a:cubicBezTo>
                      <a:cubicBezTo>
                        <a:pt x="87423" y="31529"/>
                        <a:pt x="87423" y="31529"/>
                        <a:pt x="31529" y="31529"/>
                      </a:cubicBezTo>
                      <a:cubicBezTo>
                        <a:pt x="31529" y="31529"/>
                        <a:pt x="31529" y="31529"/>
                        <a:pt x="31529" y="87422"/>
                      </a:cubicBezTo>
                      <a:cubicBezTo>
                        <a:pt x="31529" y="96021"/>
                        <a:pt x="24364" y="103187"/>
                        <a:pt x="15765" y="103187"/>
                      </a:cubicBezTo>
                      <a:cubicBezTo>
                        <a:pt x="7166" y="103187"/>
                        <a:pt x="0" y="96021"/>
                        <a:pt x="0" y="87422"/>
                      </a:cubicBezTo>
                      <a:cubicBezTo>
                        <a:pt x="0" y="87422"/>
                        <a:pt x="0" y="87422"/>
                        <a:pt x="0" y="15765"/>
                      </a:cubicBezTo>
                      <a:cubicBezTo>
                        <a:pt x="0" y="6449"/>
                        <a:pt x="7166" y="0"/>
                        <a:pt x="157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38" name="Group 37">
            <a:extLst>
              <a:ext uri="{FF2B5EF4-FFF2-40B4-BE49-F238E27FC236}">
                <a16:creationId xmlns:a16="http://schemas.microsoft.com/office/drawing/2014/main" id="{0F7DF48A-AF3D-4451-98D9-16E17D196B10}"/>
              </a:ext>
            </a:extLst>
          </p:cNvPr>
          <p:cNvGrpSpPr/>
          <p:nvPr/>
        </p:nvGrpSpPr>
        <p:grpSpPr>
          <a:xfrm>
            <a:off x="-1" y="1445448"/>
            <a:ext cx="3361060" cy="738664"/>
            <a:chOff x="-1" y="1445448"/>
            <a:chExt cx="3361060" cy="738664"/>
          </a:xfrm>
        </p:grpSpPr>
        <p:sp>
          <p:nvSpPr>
            <p:cNvPr id="39" name="Rectangle: Top Corners Rounded 38">
              <a:extLst>
                <a:ext uri="{FF2B5EF4-FFF2-40B4-BE49-F238E27FC236}">
                  <a16:creationId xmlns:a16="http://schemas.microsoft.com/office/drawing/2014/main" id="{5C73FDDD-D42A-4FE9-9270-693DBD10FBA6}"/>
                </a:ext>
              </a:extLst>
            </p:cNvPr>
            <p:cNvSpPr/>
            <p:nvPr/>
          </p:nvSpPr>
          <p:spPr>
            <a:xfrm rot="5400000">
              <a:off x="1311197" y="13425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0" name="ee4pHeader1">
              <a:extLst>
                <a:ext uri="{FF2B5EF4-FFF2-40B4-BE49-F238E27FC236}">
                  <a16:creationId xmlns:a16="http://schemas.microsoft.com/office/drawing/2014/main" id="{96F0A335-E1DE-49FC-9CB7-86C000DB9442}"/>
                </a:ext>
              </a:extLst>
            </p:cNvPr>
            <p:cNvSpPr txBox="1"/>
            <p:nvPr/>
          </p:nvSpPr>
          <p:spPr>
            <a:xfrm>
              <a:off x="288478" y="1445448"/>
              <a:ext cx="2923073" cy="738664"/>
            </a:xfrm>
            <a:prstGeom prst="rect">
              <a:avLst/>
            </a:prstGeom>
            <a:noFill/>
            <a:ln cap="rnd">
              <a:noFill/>
            </a:ln>
          </p:spPr>
          <p:txBody>
            <a:bodyPr vert="horz" wrap="square" lIns="640080" tIns="0" rIns="0" bIns="0" rtlCol="0" anchor="ctr" anchorCtr="0">
              <a:noAutofit/>
            </a:bodyPr>
            <a:lstStyle/>
            <a:p>
              <a:pPr marL="0" lvl="3"/>
              <a:r>
                <a:rPr lang="en-US" dirty="0">
                  <a:solidFill>
                    <a:srgbClr val="FFFFFF"/>
                  </a:solidFill>
                  <a:latin typeface="+mj-lt"/>
                  <a:cs typeface="Calibri" panose="020F0502020204030204" pitchFamily="34" charset="0"/>
                </a:rPr>
                <a:t>Definition </a:t>
              </a:r>
            </a:p>
          </p:txBody>
        </p:sp>
      </p:grpSp>
      <p:grpSp>
        <p:nvGrpSpPr>
          <p:cNvPr id="41" name="Group 40">
            <a:extLst>
              <a:ext uri="{FF2B5EF4-FFF2-40B4-BE49-F238E27FC236}">
                <a16:creationId xmlns:a16="http://schemas.microsoft.com/office/drawing/2014/main" id="{D524C126-F842-44D8-81B3-710A7FE95D4B}"/>
              </a:ext>
            </a:extLst>
          </p:cNvPr>
          <p:cNvGrpSpPr>
            <a:grpSpLocks noChangeAspect="1"/>
          </p:cNvGrpSpPr>
          <p:nvPr/>
        </p:nvGrpSpPr>
        <p:grpSpPr>
          <a:xfrm>
            <a:off x="318702" y="1591593"/>
            <a:ext cx="446806" cy="446374"/>
            <a:chOff x="5273675" y="2606675"/>
            <a:chExt cx="1646238" cy="1644650"/>
          </a:xfrm>
        </p:grpSpPr>
        <p:sp>
          <p:nvSpPr>
            <p:cNvPr id="44" name="AutoShape 3">
              <a:extLst>
                <a:ext uri="{FF2B5EF4-FFF2-40B4-BE49-F238E27FC236}">
                  <a16:creationId xmlns:a16="http://schemas.microsoft.com/office/drawing/2014/main" id="{E61B5F86-7F70-433D-829F-8C742C2D7586}"/>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0843F5D2-52EE-4557-BD56-5D0710CB1296}"/>
                </a:ext>
              </a:extLst>
            </p:cNvPr>
            <p:cNvGrpSpPr/>
            <p:nvPr/>
          </p:nvGrpSpPr>
          <p:grpSpPr>
            <a:xfrm>
              <a:off x="5651500" y="2971800"/>
              <a:ext cx="892175" cy="1109663"/>
              <a:chOff x="5651500" y="2971800"/>
              <a:chExt cx="892175" cy="1109663"/>
            </a:xfrm>
          </p:grpSpPr>
          <p:sp>
            <p:nvSpPr>
              <p:cNvPr id="47" name="Freeform 20">
                <a:extLst>
                  <a:ext uri="{FF2B5EF4-FFF2-40B4-BE49-F238E27FC236}">
                    <a16:creationId xmlns:a16="http://schemas.microsoft.com/office/drawing/2014/main" id="{F21592B1-907C-485A-AFFC-2770576CC93D}"/>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6" name="Freeform 21">
                <a:extLst>
                  <a:ext uri="{FF2B5EF4-FFF2-40B4-BE49-F238E27FC236}">
                    <a16:creationId xmlns:a16="http://schemas.microsoft.com/office/drawing/2014/main" id="{2F4553D6-FA62-4D8E-8307-C744D6BD0D51}"/>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46" name="ee4pFootnotes">
            <a:extLst>
              <a:ext uri="{FF2B5EF4-FFF2-40B4-BE49-F238E27FC236}">
                <a16:creationId xmlns:a16="http://schemas.microsoft.com/office/drawing/2014/main" id="{F5320272-E304-4025-A001-F089E7E2D860}"/>
              </a:ext>
            </a:extLst>
          </p:cNvPr>
          <p:cNvSpPr>
            <a:spLocks noChangeArrowheads="1"/>
          </p:cNvSpPr>
          <p:nvPr/>
        </p:nvSpPr>
        <p:spPr bwMode="auto">
          <a:xfrm>
            <a:off x="288478" y="6194952"/>
            <a:ext cx="1161504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Vaccines currently available under </a:t>
            </a:r>
            <a:r>
              <a:rPr lang="en-US" sz="1000" dirty="0" err="1">
                <a:solidFill>
                  <a:srgbClr val="000000"/>
                </a:solidFill>
                <a:latin typeface="Calibri" panose="020F0502020204030204" pitchFamily="34" charset="0"/>
                <a:sym typeface="+mn-lt"/>
              </a:rPr>
              <a:t>EUA</a:t>
            </a:r>
            <a:r>
              <a:rPr lang="en-US" sz="1000" dirty="0">
                <a:solidFill>
                  <a:srgbClr val="000000"/>
                </a:solidFill>
                <a:latin typeface="Calibri" panose="020F0502020204030204" pitchFamily="34" charset="0"/>
                <a:sym typeface="+mn-lt"/>
              </a:rPr>
              <a:t> have not been tested in pregnant women. Therefore, there are no safety data specific to use in pregnancy. A conversation with a clinician is especially important in such cases, and individuals who decide not to take the vaccine should be supported in their decision. See </a:t>
            </a:r>
            <a:r>
              <a:rPr lang="en-US" sz="1000" dirty="0">
                <a:solidFill>
                  <a:srgbClr val="000000"/>
                </a:solidFill>
                <a:latin typeface="Calibri" panose="020F0502020204030204" pitchFamily="34" charset="0"/>
                <a:sym typeface="+mn-lt"/>
                <a:hlinkClick r:id="rId8">
                  <a:extLst>
                    <a:ext uri="{A12FA001-AC4F-418D-AE19-62706E023703}">
                      <ahyp:hlinkClr xmlns:ahyp="http://schemas.microsoft.com/office/drawing/2018/hyperlinkcolor" xmlns="" val="tx"/>
                    </a:ext>
                  </a:extLst>
                </a:hlinkClick>
              </a:rPr>
              <a:t>ACOG recommendations</a:t>
            </a:r>
            <a:r>
              <a:rPr lang="en-US" sz="1000" dirty="0">
                <a:solidFill>
                  <a:srgbClr val="000000"/>
                </a:solidFill>
                <a:latin typeface="Calibri" panose="020F0502020204030204" pitchFamily="34" charset="0"/>
                <a:sym typeface="+mn-lt"/>
              </a:rPr>
              <a:t> for further information</a:t>
            </a:r>
          </a:p>
          <a:p>
            <a:pPr>
              <a:lnSpc>
                <a:spcPct val="90000"/>
              </a:lnSpc>
            </a:pPr>
            <a:r>
              <a:rPr lang="en-US" sz="1000" dirty="0">
                <a:solidFill>
                  <a:srgbClr val="000000"/>
                </a:solidFill>
                <a:latin typeface="Calibri" panose="020F0502020204030204" pitchFamily="34" charset="0"/>
                <a:sym typeface="+mn-lt"/>
              </a:rPr>
              <a:t>Sources: CDC,  "Summary of Recent Changes"  https://www.cdc.gov/coronavirus/2019-ncov/need-extra-precautions/people-with-medical-conditions.html</a:t>
            </a:r>
          </a:p>
        </p:txBody>
      </p:sp>
    </p:spTree>
    <p:extLst>
      <p:ext uri="{BB962C8B-B14F-4D97-AF65-F5344CB8AC3E}">
        <p14:creationId xmlns:p14="http://schemas.microsoft.com/office/powerpoint/2010/main" val="718284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190F1-3F98-414F-91BC-83E7EFCC12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82"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A07190F1-3F98-414F-91BC-83E7EFCC12D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AEE29D-DA7A-4450-BDD1-9B75A94386AD}"/>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pic>
        <p:nvPicPr>
          <p:cNvPr id="8" name="Picture 7"/>
          <p:cNvPicPr>
            <a:picLocks noChangeAspect="1"/>
          </p:cNvPicPr>
          <p:nvPr/>
        </p:nvPicPr>
        <p:blipFill>
          <a:blip r:embed="rId10">
            <a:extLst>
              <a:ext uri="{28A0092B-C50C-407E-A947-70E740481C1C}">
                <a14:useLocalDpi xmlns:a14="http://schemas.microsoft.com/office/drawing/2010/main" val="0"/>
              </a:ext>
            </a:extLst>
          </a:blip>
          <a:srcRect l="30290" r="30290"/>
          <a:stretch>
            <a:fillRect/>
          </a:stretch>
        </p:blipFill>
        <p:spPr>
          <a:xfrm>
            <a:off x="1" y="0"/>
            <a:ext cx="4079806" cy="6858000"/>
          </a:xfrm>
          <a:custGeom>
            <a:avLst/>
            <a:gdLst>
              <a:gd name="connsiteX0" fmla="*/ 0 w 4055165"/>
              <a:gd name="connsiteY0" fmla="*/ 0 h 6858000"/>
              <a:gd name="connsiteX1" fmla="*/ 4055165 w 4055165"/>
              <a:gd name="connsiteY1" fmla="*/ 0 h 6858000"/>
              <a:gd name="connsiteX2" fmla="*/ 4055165 w 4055165"/>
              <a:gd name="connsiteY2" fmla="*/ 6858000 h 6858000"/>
              <a:gd name="connsiteX3" fmla="*/ 0 w 405516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55165" h="6858000">
                <a:moveTo>
                  <a:pt x="0" y="0"/>
                </a:moveTo>
                <a:lnTo>
                  <a:pt x="4055165" y="0"/>
                </a:lnTo>
                <a:lnTo>
                  <a:pt x="4055165" y="6858000"/>
                </a:lnTo>
                <a:lnTo>
                  <a:pt x="0" y="6858000"/>
                </a:lnTo>
                <a:close/>
              </a:path>
            </a:pathLst>
          </a:custGeom>
        </p:spPr>
      </p:pic>
      <p:sp>
        <p:nvSpPr>
          <p:cNvPr id="9" name="GradientOverlay"/>
          <p:cNvSpPr/>
          <p:nvPr>
            <p:custDataLst>
              <p:tags r:id="rId4"/>
            </p:custDataLst>
          </p:nvPr>
        </p:nvSpPr>
        <p:spPr>
          <a:xfrm>
            <a:off x="1" y="0"/>
            <a:ext cx="4079806"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latin typeface="+mj-lt"/>
              <a:sym typeface="+mn-lt"/>
            </a:endParaRPr>
          </a:p>
        </p:txBody>
      </p:sp>
      <p:sp>
        <p:nvSpPr>
          <p:cNvPr id="7" name="TextBox 6">
            <a:extLst>
              <a:ext uri="{FF2B5EF4-FFF2-40B4-BE49-F238E27FC236}">
                <a16:creationId xmlns:a16="http://schemas.microsoft.com/office/drawing/2014/main" id="{CF680A86-0204-40E7-92EA-FDB7D70895B9}"/>
              </a:ext>
            </a:extLst>
          </p:cNvPr>
          <p:cNvSpPr txBox="1"/>
          <p:nvPr/>
        </p:nvSpPr>
        <p:spPr>
          <a:xfrm>
            <a:off x="5189140" y="204603"/>
            <a:ext cx="6525785" cy="15081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1400" b="1" dirty="0">
                <a:solidFill>
                  <a:srgbClr val="051934"/>
                </a:solidFill>
                <a:latin typeface="Calibri" panose="020F0502020204030204" pitchFamily="34" charset="0"/>
              </a:rPr>
              <a:t>About this document</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As COVID-19 vaccines are approved by the FDA, the federal government is supplying states with limited doses on a weekly basis. </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Kansas Department of Health and Environment (KDHE) has created a list of populations, spread across 5 phases, to prioritize for vaccination</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This document lays out Kansas' current prioritized vaccination plan and provides more detailed definitions of identified population segments</a:t>
            </a:r>
          </a:p>
        </p:txBody>
      </p:sp>
      <p:sp>
        <p:nvSpPr>
          <p:cNvPr id="20" name="TextBox 19">
            <a:extLst>
              <a:ext uri="{FF2B5EF4-FFF2-40B4-BE49-F238E27FC236}">
                <a16:creationId xmlns:a16="http://schemas.microsoft.com/office/drawing/2014/main" id="{CF680A86-0204-40E7-92EA-FDB7D70895B9}"/>
              </a:ext>
            </a:extLst>
          </p:cNvPr>
          <p:cNvSpPr txBox="1"/>
          <p:nvPr/>
        </p:nvSpPr>
        <p:spPr>
          <a:xfrm>
            <a:off x="5189140" y="1910372"/>
            <a:ext cx="6525785" cy="23698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1400" b="1" dirty="0">
                <a:solidFill>
                  <a:srgbClr val="051934"/>
                </a:solidFill>
                <a:latin typeface="Calibri" panose="020F0502020204030204" pitchFamily="34" charset="0"/>
              </a:rPr>
              <a:t>Our methodology</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To develop this phasing, we segmented and prioritized Kansas' population based on public health risk and criticality to state infrastructure</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Throughout the process, we have used an equity lens to ensure inclusion of socially and medically vulnerable communities our prioritization</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The Governor and KDHE engaged an independent advisory committee to review and co-develop these phases, ensuring input broad input</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We have also relied on the expert opinion of the CDC and </a:t>
            </a:r>
            <a:r>
              <a:rPr lang="en-US" sz="1400" dirty="0" err="1">
                <a:solidFill>
                  <a:srgbClr val="000000"/>
                </a:solidFill>
                <a:latin typeface="Calibri" panose="020F0502020204030204" pitchFamily="34" charset="0"/>
              </a:rPr>
              <a:t>ACIP</a:t>
            </a:r>
            <a:r>
              <a:rPr lang="en-US" sz="1400" dirty="0">
                <a:solidFill>
                  <a:srgbClr val="000000"/>
                </a:solidFill>
                <a:latin typeface="Calibri" panose="020F0502020204030204" pitchFamily="34" charset="0"/>
              </a:rPr>
              <a:t> recommendations </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The COVID-19 environment is dynamic, and thus we will continue to adapt these phases and priority groups as we learn more about the disease situation in Kansas and across the country</a:t>
            </a:r>
          </a:p>
        </p:txBody>
      </p:sp>
      <p:sp>
        <p:nvSpPr>
          <p:cNvPr id="21" name="TextBox 20">
            <a:extLst>
              <a:ext uri="{FF2B5EF4-FFF2-40B4-BE49-F238E27FC236}">
                <a16:creationId xmlns:a16="http://schemas.microsoft.com/office/drawing/2014/main" id="{CF680A86-0204-40E7-92EA-FDB7D70895B9}"/>
              </a:ext>
            </a:extLst>
          </p:cNvPr>
          <p:cNvSpPr txBox="1"/>
          <p:nvPr/>
        </p:nvSpPr>
        <p:spPr>
          <a:xfrm>
            <a:off x="5189140" y="4477918"/>
            <a:ext cx="6525785" cy="19389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1400" b="1" dirty="0">
                <a:solidFill>
                  <a:srgbClr val="051934"/>
                </a:solidFill>
                <a:latin typeface="Calibri" panose="020F0502020204030204" pitchFamily="34" charset="0"/>
              </a:rPr>
              <a:t>How we will operationalize these phases</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KDHE will maintain a flexible approach to moving through phases, prioritizing the vaccination of current phase populations and maximizing speed under federal supply constraints</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We are engaging local health departments, providers (hospitals, clinics, pharmacies) etc. across the state to distribute and administer the vaccine</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We will ensure equity throughout the vaccine distribution process, e.g. by prioritizing providers, such as safety net clinics in vulnerable communities and proactive outreach and communications to those all those communities at risk</a:t>
            </a:r>
          </a:p>
        </p:txBody>
      </p:sp>
      <p:sp>
        <p:nvSpPr>
          <p:cNvPr id="12" name="GradientOverlay"/>
          <p:cNvSpPr/>
          <p:nvPr>
            <p:custDataLst>
              <p:tags r:id="rId5"/>
            </p:custDataLst>
          </p:nvPr>
        </p:nvSpPr>
        <p:spPr>
          <a:xfrm>
            <a:off x="1" y="2681103"/>
            <a:ext cx="4079806" cy="1495794"/>
          </a:xfrm>
          <a:prstGeom prst="rect">
            <a:avLst/>
          </a:prstGeom>
          <a:solidFill>
            <a:srgbClr val="000000">
              <a:alpha val="68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latin typeface="+mj-lt"/>
              <a:sym typeface="+mn-lt"/>
            </a:endParaRPr>
          </a:p>
        </p:txBody>
      </p:sp>
      <p:sp>
        <p:nvSpPr>
          <p:cNvPr id="2" name="Title 1">
            <a:extLst>
              <a:ext uri="{FF2B5EF4-FFF2-40B4-BE49-F238E27FC236}">
                <a16:creationId xmlns:a16="http://schemas.microsoft.com/office/drawing/2014/main" id="{8AF1661B-E31D-4621-874D-696BF7E66BD4}"/>
              </a:ext>
            </a:extLst>
          </p:cNvPr>
          <p:cNvSpPr>
            <a:spLocks noGrp="1"/>
          </p:cNvSpPr>
          <p:nvPr>
            <p:ph type="title"/>
          </p:nvPr>
        </p:nvSpPr>
        <p:spPr>
          <a:xfrm>
            <a:off x="305202" y="2681103"/>
            <a:ext cx="3469403" cy="1495794"/>
          </a:xfrm>
        </p:spPr>
        <p:txBody>
          <a:bodyPr/>
          <a:lstStyle/>
          <a:p>
            <a:pPr algn="ctr"/>
            <a:r>
              <a:rPr lang="en-US" dirty="0"/>
              <a:t>COVID-19 vaccination phases in Kansas</a:t>
            </a:r>
          </a:p>
        </p:txBody>
      </p:sp>
      <p:cxnSp>
        <p:nvCxnSpPr>
          <p:cNvPr id="30" name="Straight Connector 29"/>
          <p:cNvCxnSpPr/>
          <p:nvPr/>
        </p:nvCxnSpPr>
        <p:spPr>
          <a:xfrm>
            <a:off x="4222207" y="1811540"/>
            <a:ext cx="7492718"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222207" y="4379085"/>
            <a:ext cx="7492719"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222207" y="576870"/>
            <a:ext cx="763571" cy="763571"/>
            <a:chOff x="4222207" y="807703"/>
            <a:chExt cx="763571" cy="763571"/>
          </a:xfrm>
        </p:grpSpPr>
        <p:sp>
          <p:nvSpPr>
            <p:cNvPr id="22" name="Oval 21"/>
            <p:cNvSpPr/>
            <p:nvPr/>
          </p:nvSpPr>
          <p:spPr>
            <a:xfrm>
              <a:off x="4222207" y="807703"/>
              <a:ext cx="763571" cy="763571"/>
            </a:xfrm>
            <a:prstGeom prst="ellipse">
              <a:avLst/>
            </a:prstGeom>
            <a:grpFill/>
            <a:ln w="1905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latin typeface="+mj-lt"/>
              </a:endParaRPr>
            </a:p>
          </p:txBody>
        </p:sp>
        <p:grpSp>
          <p:nvGrpSpPr>
            <p:cNvPr id="32" name="Group 31"/>
            <p:cNvGrpSpPr>
              <a:grpSpLocks noChangeAspect="1"/>
            </p:cNvGrpSpPr>
            <p:nvPr/>
          </p:nvGrpSpPr>
          <p:grpSpPr>
            <a:xfrm>
              <a:off x="4341604" y="927100"/>
              <a:ext cx="524776" cy="524776"/>
              <a:chOff x="5272088" y="2605088"/>
              <a:chExt cx="1646237" cy="1646237"/>
            </a:xfrm>
          </p:grpSpPr>
          <p:sp>
            <p:nvSpPr>
              <p:cNvPr id="33" name="AutoShape 3"/>
              <p:cNvSpPr>
                <a:spLocks noChangeAspect="1" noChangeArrowheads="1" noTextEdit="1"/>
              </p:cNvSpPr>
              <p:nvPr/>
            </p:nvSpPr>
            <p:spPr bwMode="auto">
              <a:xfrm>
                <a:off x="5272088" y="260508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3"/>
              <p:cNvGrpSpPr/>
              <p:nvPr/>
            </p:nvGrpSpPr>
            <p:grpSpPr>
              <a:xfrm>
                <a:off x="5545138" y="2887663"/>
                <a:ext cx="1100137" cy="1192212"/>
                <a:chOff x="5545138" y="2887663"/>
                <a:chExt cx="1100137" cy="1192212"/>
              </a:xfrm>
            </p:grpSpPr>
            <p:sp>
              <p:nvSpPr>
                <p:cNvPr id="35" name="Freeform 34"/>
                <p:cNvSpPr>
                  <a:spLocks/>
                </p:cNvSpPr>
                <p:nvPr/>
              </p:nvSpPr>
              <p:spPr bwMode="auto">
                <a:xfrm>
                  <a:off x="5545138" y="2887663"/>
                  <a:ext cx="1100137" cy="1192212"/>
                </a:xfrm>
                <a:custGeom>
                  <a:avLst/>
                  <a:gdLst>
                    <a:gd name="connsiteX0" fmla="*/ 31750 w 1100137"/>
                    <a:gd name="connsiteY0" fmla="*/ 280987 h 1192212"/>
                    <a:gd name="connsiteX1" fmla="*/ 31750 w 1100137"/>
                    <a:gd name="connsiteY1" fmla="*/ 1162049 h 1192212"/>
                    <a:gd name="connsiteX2" fmla="*/ 655637 w 1100137"/>
                    <a:gd name="connsiteY2" fmla="*/ 1162049 h 1192212"/>
                    <a:gd name="connsiteX3" fmla="*/ 655637 w 1100137"/>
                    <a:gd name="connsiteY3" fmla="*/ 1068387 h 1192212"/>
                    <a:gd name="connsiteX4" fmla="*/ 655637 w 1100137"/>
                    <a:gd name="connsiteY4" fmla="*/ 1052512 h 1192212"/>
                    <a:gd name="connsiteX5" fmla="*/ 655637 w 1100137"/>
                    <a:gd name="connsiteY5" fmla="*/ 1036637 h 1192212"/>
                    <a:gd name="connsiteX6" fmla="*/ 655637 w 1100137"/>
                    <a:gd name="connsiteY6" fmla="*/ 1025524 h 1192212"/>
                    <a:gd name="connsiteX7" fmla="*/ 655637 w 1100137"/>
                    <a:gd name="connsiteY7" fmla="*/ 1009649 h 1192212"/>
                    <a:gd name="connsiteX8" fmla="*/ 655637 w 1100137"/>
                    <a:gd name="connsiteY8" fmla="*/ 993774 h 1192212"/>
                    <a:gd name="connsiteX9" fmla="*/ 655637 w 1100137"/>
                    <a:gd name="connsiteY9" fmla="*/ 974724 h 1192212"/>
                    <a:gd name="connsiteX10" fmla="*/ 655637 w 1100137"/>
                    <a:gd name="connsiteY10" fmla="*/ 958849 h 1192212"/>
                    <a:gd name="connsiteX11" fmla="*/ 655637 w 1100137"/>
                    <a:gd name="connsiteY11" fmla="*/ 942974 h 1192212"/>
                    <a:gd name="connsiteX12" fmla="*/ 655637 w 1100137"/>
                    <a:gd name="connsiteY12" fmla="*/ 927099 h 1192212"/>
                    <a:gd name="connsiteX13" fmla="*/ 655637 w 1100137"/>
                    <a:gd name="connsiteY13" fmla="*/ 920749 h 1192212"/>
                    <a:gd name="connsiteX14" fmla="*/ 655637 w 1100137"/>
                    <a:gd name="connsiteY14" fmla="*/ 911224 h 1192212"/>
                    <a:gd name="connsiteX15" fmla="*/ 655637 w 1100137"/>
                    <a:gd name="connsiteY15" fmla="*/ 900112 h 1192212"/>
                    <a:gd name="connsiteX16" fmla="*/ 655637 w 1100137"/>
                    <a:gd name="connsiteY16" fmla="*/ 890587 h 1192212"/>
                    <a:gd name="connsiteX17" fmla="*/ 655637 w 1100137"/>
                    <a:gd name="connsiteY17" fmla="*/ 884237 h 1192212"/>
                    <a:gd name="connsiteX18" fmla="*/ 655637 w 1100137"/>
                    <a:gd name="connsiteY18" fmla="*/ 868362 h 1192212"/>
                    <a:gd name="connsiteX19" fmla="*/ 655637 w 1100137"/>
                    <a:gd name="connsiteY19" fmla="*/ 819149 h 1192212"/>
                    <a:gd name="connsiteX20" fmla="*/ 655637 w 1100137"/>
                    <a:gd name="connsiteY20" fmla="*/ 796924 h 1192212"/>
                    <a:gd name="connsiteX21" fmla="*/ 655637 w 1100137"/>
                    <a:gd name="connsiteY21" fmla="*/ 787399 h 1192212"/>
                    <a:gd name="connsiteX22" fmla="*/ 655637 w 1100137"/>
                    <a:gd name="connsiteY22" fmla="*/ 765174 h 1192212"/>
                    <a:gd name="connsiteX23" fmla="*/ 655637 w 1100137"/>
                    <a:gd name="connsiteY23" fmla="*/ 715962 h 1192212"/>
                    <a:gd name="connsiteX24" fmla="*/ 655637 w 1100137"/>
                    <a:gd name="connsiteY24" fmla="*/ 693737 h 1192212"/>
                    <a:gd name="connsiteX25" fmla="*/ 655637 w 1100137"/>
                    <a:gd name="connsiteY25" fmla="*/ 685799 h 1192212"/>
                    <a:gd name="connsiteX26" fmla="*/ 655637 w 1100137"/>
                    <a:gd name="connsiteY26" fmla="*/ 661987 h 1192212"/>
                    <a:gd name="connsiteX27" fmla="*/ 655637 w 1100137"/>
                    <a:gd name="connsiteY27" fmla="*/ 612774 h 1192212"/>
                    <a:gd name="connsiteX28" fmla="*/ 655637 w 1100137"/>
                    <a:gd name="connsiteY28" fmla="*/ 590549 h 1192212"/>
                    <a:gd name="connsiteX29" fmla="*/ 655637 w 1100137"/>
                    <a:gd name="connsiteY29" fmla="*/ 582612 h 1192212"/>
                    <a:gd name="connsiteX30" fmla="*/ 655637 w 1100137"/>
                    <a:gd name="connsiteY30" fmla="*/ 560387 h 1192212"/>
                    <a:gd name="connsiteX31" fmla="*/ 655637 w 1100137"/>
                    <a:gd name="connsiteY31" fmla="*/ 509587 h 1192212"/>
                    <a:gd name="connsiteX32" fmla="*/ 655637 w 1100137"/>
                    <a:gd name="connsiteY32" fmla="*/ 487362 h 1192212"/>
                    <a:gd name="connsiteX33" fmla="*/ 655637 w 1100137"/>
                    <a:gd name="connsiteY33" fmla="*/ 479425 h 1192212"/>
                    <a:gd name="connsiteX34" fmla="*/ 655637 w 1100137"/>
                    <a:gd name="connsiteY34" fmla="*/ 457200 h 1192212"/>
                    <a:gd name="connsiteX35" fmla="*/ 655637 w 1100137"/>
                    <a:gd name="connsiteY35" fmla="*/ 407987 h 1192212"/>
                    <a:gd name="connsiteX36" fmla="*/ 655637 w 1100137"/>
                    <a:gd name="connsiteY36" fmla="*/ 384175 h 1192212"/>
                    <a:gd name="connsiteX37" fmla="*/ 655637 w 1100137"/>
                    <a:gd name="connsiteY37" fmla="*/ 376237 h 1192212"/>
                    <a:gd name="connsiteX38" fmla="*/ 655637 w 1100137"/>
                    <a:gd name="connsiteY38" fmla="*/ 354012 h 1192212"/>
                    <a:gd name="connsiteX39" fmla="*/ 655637 w 1100137"/>
                    <a:gd name="connsiteY39" fmla="*/ 304800 h 1192212"/>
                    <a:gd name="connsiteX40" fmla="*/ 655637 w 1100137"/>
                    <a:gd name="connsiteY40" fmla="*/ 282575 h 1192212"/>
                    <a:gd name="connsiteX41" fmla="*/ 655637 w 1100137"/>
                    <a:gd name="connsiteY41" fmla="*/ 280987 h 1192212"/>
                    <a:gd name="connsiteX42" fmla="*/ 539750 w 1100137"/>
                    <a:gd name="connsiteY42" fmla="*/ 280987 h 1192212"/>
                    <a:gd name="connsiteX43" fmla="*/ 490537 w 1100137"/>
                    <a:gd name="connsiteY43" fmla="*/ 280987 h 1192212"/>
                    <a:gd name="connsiteX44" fmla="*/ 474662 w 1100137"/>
                    <a:gd name="connsiteY44" fmla="*/ 280987 h 1192212"/>
                    <a:gd name="connsiteX45" fmla="*/ 458787 w 1100137"/>
                    <a:gd name="connsiteY45" fmla="*/ 280987 h 1192212"/>
                    <a:gd name="connsiteX46" fmla="*/ 444500 w 1100137"/>
                    <a:gd name="connsiteY46" fmla="*/ 280987 h 1192212"/>
                    <a:gd name="connsiteX47" fmla="*/ 428625 w 1100137"/>
                    <a:gd name="connsiteY47" fmla="*/ 280987 h 1192212"/>
                    <a:gd name="connsiteX48" fmla="*/ 414337 w 1100137"/>
                    <a:gd name="connsiteY48" fmla="*/ 280987 h 1192212"/>
                    <a:gd name="connsiteX49" fmla="*/ 398462 w 1100137"/>
                    <a:gd name="connsiteY49" fmla="*/ 280987 h 1192212"/>
                    <a:gd name="connsiteX50" fmla="*/ 382587 w 1100137"/>
                    <a:gd name="connsiteY50" fmla="*/ 280987 h 1192212"/>
                    <a:gd name="connsiteX51" fmla="*/ 325437 w 1100137"/>
                    <a:gd name="connsiteY51" fmla="*/ 280987 h 1192212"/>
                    <a:gd name="connsiteX52" fmla="*/ 284163 w 1100137"/>
                    <a:gd name="connsiteY52" fmla="*/ 280987 h 1192212"/>
                    <a:gd name="connsiteX53" fmla="*/ 268288 w 1100137"/>
                    <a:gd name="connsiteY53" fmla="*/ 280987 h 1192212"/>
                    <a:gd name="connsiteX54" fmla="*/ 252413 w 1100137"/>
                    <a:gd name="connsiteY54" fmla="*/ 280987 h 1192212"/>
                    <a:gd name="connsiteX55" fmla="*/ 238125 w 1100137"/>
                    <a:gd name="connsiteY55" fmla="*/ 280987 h 1192212"/>
                    <a:gd name="connsiteX56" fmla="*/ 222250 w 1100137"/>
                    <a:gd name="connsiteY56" fmla="*/ 280987 h 1192212"/>
                    <a:gd name="connsiteX57" fmla="*/ 206375 w 1100137"/>
                    <a:gd name="connsiteY57" fmla="*/ 280987 h 1192212"/>
                    <a:gd name="connsiteX58" fmla="*/ 238125 w 1100137"/>
                    <a:gd name="connsiteY58" fmla="*/ 155575 h 1192212"/>
                    <a:gd name="connsiteX59" fmla="*/ 238125 w 1100137"/>
                    <a:gd name="connsiteY59" fmla="*/ 249259 h 1192212"/>
                    <a:gd name="connsiteX60" fmla="*/ 251719 w 1100137"/>
                    <a:gd name="connsiteY60" fmla="*/ 249259 h 1192212"/>
                    <a:gd name="connsiteX61" fmla="*/ 267459 w 1100137"/>
                    <a:gd name="connsiteY61" fmla="*/ 249259 h 1192212"/>
                    <a:gd name="connsiteX62" fmla="*/ 283200 w 1100137"/>
                    <a:gd name="connsiteY62" fmla="*/ 249259 h 1192212"/>
                    <a:gd name="connsiteX63" fmla="*/ 381934 w 1100137"/>
                    <a:gd name="connsiteY63" fmla="*/ 249259 h 1192212"/>
                    <a:gd name="connsiteX64" fmla="*/ 397674 w 1100137"/>
                    <a:gd name="connsiteY64" fmla="*/ 249259 h 1192212"/>
                    <a:gd name="connsiteX65" fmla="*/ 413415 w 1100137"/>
                    <a:gd name="connsiteY65" fmla="*/ 249259 h 1192212"/>
                    <a:gd name="connsiteX66" fmla="*/ 429155 w 1100137"/>
                    <a:gd name="connsiteY66" fmla="*/ 249259 h 1192212"/>
                    <a:gd name="connsiteX67" fmla="*/ 444895 w 1100137"/>
                    <a:gd name="connsiteY67" fmla="*/ 249259 h 1192212"/>
                    <a:gd name="connsiteX68" fmla="*/ 458489 w 1100137"/>
                    <a:gd name="connsiteY68" fmla="*/ 249259 h 1192212"/>
                    <a:gd name="connsiteX69" fmla="*/ 474229 w 1100137"/>
                    <a:gd name="connsiteY69" fmla="*/ 249259 h 1192212"/>
                    <a:gd name="connsiteX70" fmla="*/ 489970 w 1100137"/>
                    <a:gd name="connsiteY70" fmla="*/ 249259 h 1192212"/>
                    <a:gd name="connsiteX71" fmla="*/ 670983 w 1100137"/>
                    <a:gd name="connsiteY71" fmla="*/ 249259 h 1192212"/>
                    <a:gd name="connsiteX72" fmla="*/ 677422 w 1100137"/>
                    <a:gd name="connsiteY72" fmla="*/ 250690 h 1192212"/>
                    <a:gd name="connsiteX73" fmla="*/ 686723 w 1100137"/>
                    <a:gd name="connsiteY73" fmla="*/ 264993 h 1192212"/>
                    <a:gd name="connsiteX74" fmla="*/ 686723 w 1100137"/>
                    <a:gd name="connsiteY74" fmla="*/ 273575 h 1192212"/>
                    <a:gd name="connsiteX75" fmla="*/ 686723 w 1100137"/>
                    <a:gd name="connsiteY75" fmla="*/ 282156 h 1192212"/>
                    <a:gd name="connsiteX76" fmla="*/ 686723 w 1100137"/>
                    <a:gd name="connsiteY76" fmla="*/ 304326 h 1192212"/>
                    <a:gd name="connsiteX77" fmla="*/ 686723 w 1100137"/>
                    <a:gd name="connsiteY77" fmla="*/ 353671 h 1192212"/>
                    <a:gd name="connsiteX78" fmla="*/ 686723 w 1100137"/>
                    <a:gd name="connsiteY78" fmla="*/ 375841 h 1192212"/>
                    <a:gd name="connsiteX79" fmla="*/ 686723 w 1100137"/>
                    <a:gd name="connsiteY79" fmla="*/ 384422 h 1192212"/>
                    <a:gd name="connsiteX80" fmla="*/ 686723 w 1100137"/>
                    <a:gd name="connsiteY80" fmla="*/ 407307 h 1192212"/>
                    <a:gd name="connsiteX81" fmla="*/ 686723 w 1100137"/>
                    <a:gd name="connsiteY81" fmla="*/ 457367 h 1192212"/>
                    <a:gd name="connsiteX82" fmla="*/ 686723 w 1100137"/>
                    <a:gd name="connsiteY82" fmla="*/ 478822 h 1192212"/>
                    <a:gd name="connsiteX83" fmla="*/ 686723 w 1100137"/>
                    <a:gd name="connsiteY83" fmla="*/ 487404 h 1192212"/>
                    <a:gd name="connsiteX84" fmla="*/ 686723 w 1100137"/>
                    <a:gd name="connsiteY84" fmla="*/ 509573 h 1192212"/>
                    <a:gd name="connsiteX85" fmla="*/ 686723 w 1100137"/>
                    <a:gd name="connsiteY85" fmla="*/ 560349 h 1192212"/>
                    <a:gd name="connsiteX86" fmla="*/ 686723 w 1100137"/>
                    <a:gd name="connsiteY86" fmla="*/ 582518 h 1192212"/>
                    <a:gd name="connsiteX87" fmla="*/ 686723 w 1100137"/>
                    <a:gd name="connsiteY87" fmla="*/ 591100 h 1192212"/>
                    <a:gd name="connsiteX88" fmla="*/ 686723 w 1100137"/>
                    <a:gd name="connsiteY88" fmla="*/ 612555 h 1192212"/>
                    <a:gd name="connsiteX89" fmla="*/ 686723 w 1100137"/>
                    <a:gd name="connsiteY89" fmla="*/ 662615 h 1192212"/>
                    <a:gd name="connsiteX90" fmla="*/ 686723 w 1100137"/>
                    <a:gd name="connsiteY90" fmla="*/ 685500 h 1192212"/>
                    <a:gd name="connsiteX91" fmla="*/ 686723 w 1100137"/>
                    <a:gd name="connsiteY91" fmla="*/ 694081 h 1192212"/>
                    <a:gd name="connsiteX92" fmla="*/ 686723 w 1100137"/>
                    <a:gd name="connsiteY92" fmla="*/ 716251 h 1192212"/>
                    <a:gd name="connsiteX93" fmla="*/ 686723 w 1100137"/>
                    <a:gd name="connsiteY93" fmla="*/ 765596 h 1192212"/>
                    <a:gd name="connsiteX94" fmla="*/ 686723 w 1100137"/>
                    <a:gd name="connsiteY94" fmla="*/ 787766 h 1192212"/>
                    <a:gd name="connsiteX95" fmla="*/ 686723 w 1100137"/>
                    <a:gd name="connsiteY95" fmla="*/ 796348 h 1192212"/>
                    <a:gd name="connsiteX96" fmla="*/ 686723 w 1100137"/>
                    <a:gd name="connsiteY96" fmla="*/ 819232 h 1192212"/>
                    <a:gd name="connsiteX97" fmla="*/ 686723 w 1100137"/>
                    <a:gd name="connsiteY97" fmla="*/ 868577 h 1192212"/>
                    <a:gd name="connsiteX98" fmla="*/ 686723 w 1100137"/>
                    <a:gd name="connsiteY98" fmla="*/ 884311 h 1192212"/>
                    <a:gd name="connsiteX99" fmla="*/ 686723 w 1100137"/>
                    <a:gd name="connsiteY99" fmla="*/ 890747 h 1192212"/>
                    <a:gd name="connsiteX100" fmla="*/ 686723 w 1100137"/>
                    <a:gd name="connsiteY100" fmla="*/ 900044 h 1192212"/>
                    <a:gd name="connsiteX101" fmla="*/ 686723 w 1100137"/>
                    <a:gd name="connsiteY101" fmla="*/ 911486 h 1192212"/>
                    <a:gd name="connsiteX102" fmla="*/ 686723 w 1100137"/>
                    <a:gd name="connsiteY102" fmla="*/ 921498 h 1192212"/>
                    <a:gd name="connsiteX103" fmla="*/ 686723 w 1100137"/>
                    <a:gd name="connsiteY103" fmla="*/ 927220 h 1192212"/>
                    <a:gd name="connsiteX104" fmla="*/ 686723 w 1100137"/>
                    <a:gd name="connsiteY104" fmla="*/ 942953 h 1192212"/>
                    <a:gd name="connsiteX105" fmla="*/ 686723 w 1100137"/>
                    <a:gd name="connsiteY105" fmla="*/ 958686 h 1192212"/>
                    <a:gd name="connsiteX106" fmla="*/ 686723 w 1100137"/>
                    <a:gd name="connsiteY106" fmla="*/ 974419 h 1192212"/>
                    <a:gd name="connsiteX107" fmla="*/ 686723 w 1100137"/>
                    <a:gd name="connsiteY107" fmla="*/ 1009462 h 1192212"/>
                    <a:gd name="connsiteX108" fmla="*/ 686723 w 1100137"/>
                    <a:gd name="connsiteY108" fmla="*/ 1025195 h 1192212"/>
                    <a:gd name="connsiteX109" fmla="*/ 686723 w 1100137"/>
                    <a:gd name="connsiteY109" fmla="*/ 1036637 h 1192212"/>
                    <a:gd name="connsiteX110" fmla="*/ 862012 w 1100137"/>
                    <a:gd name="connsiteY110" fmla="*/ 1036637 h 1192212"/>
                    <a:gd name="connsiteX111" fmla="*/ 862012 w 1100137"/>
                    <a:gd name="connsiteY111" fmla="*/ 974419 h 1192212"/>
                    <a:gd name="connsiteX112" fmla="*/ 862012 w 1100137"/>
                    <a:gd name="connsiteY112" fmla="*/ 958686 h 1192212"/>
                    <a:gd name="connsiteX113" fmla="*/ 862012 w 1100137"/>
                    <a:gd name="connsiteY113" fmla="*/ 942953 h 1192212"/>
                    <a:gd name="connsiteX114" fmla="*/ 862012 w 1100137"/>
                    <a:gd name="connsiteY114" fmla="*/ 927220 h 1192212"/>
                    <a:gd name="connsiteX115" fmla="*/ 862012 w 1100137"/>
                    <a:gd name="connsiteY115" fmla="*/ 911486 h 1192212"/>
                    <a:gd name="connsiteX116" fmla="*/ 862012 w 1100137"/>
                    <a:gd name="connsiteY116" fmla="*/ 900044 h 1192212"/>
                    <a:gd name="connsiteX117" fmla="*/ 862012 w 1100137"/>
                    <a:gd name="connsiteY117" fmla="*/ 884311 h 1192212"/>
                    <a:gd name="connsiteX118" fmla="*/ 862012 w 1100137"/>
                    <a:gd name="connsiteY118" fmla="*/ 868577 h 1192212"/>
                    <a:gd name="connsiteX119" fmla="*/ 862012 w 1100137"/>
                    <a:gd name="connsiteY119" fmla="*/ 796348 h 1192212"/>
                    <a:gd name="connsiteX120" fmla="*/ 862012 w 1100137"/>
                    <a:gd name="connsiteY120" fmla="*/ 765596 h 1192212"/>
                    <a:gd name="connsiteX121" fmla="*/ 862012 w 1100137"/>
                    <a:gd name="connsiteY121" fmla="*/ 694081 h 1192212"/>
                    <a:gd name="connsiteX122" fmla="*/ 862012 w 1100137"/>
                    <a:gd name="connsiteY122" fmla="*/ 662615 h 1192212"/>
                    <a:gd name="connsiteX123" fmla="*/ 862012 w 1100137"/>
                    <a:gd name="connsiteY123" fmla="*/ 591100 h 1192212"/>
                    <a:gd name="connsiteX124" fmla="*/ 862012 w 1100137"/>
                    <a:gd name="connsiteY124" fmla="*/ 560349 h 1192212"/>
                    <a:gd name="connsiteX125" fmla="*/ 862012 w 1100137"/>
                    <a:gd name="connsiteY125" fmla="*/ 487404 h 1192212"/>
                    <a:gd name="connsiteX126" fmla="*/ 862012 w 1100137"/>
                    <a:gd name="connsiteY126" fmla="*/ 457367 h 1192212"/>
                    <a:gd name="connsiteX127" fmla="*/ 862012 w 1100137"/>
                    <a:gd name="connsiteY127" fmla="*/ 384422 h 1192212"/>
                    <a:gd name="connsiteX128" fmla="*/ 862012 w 1100137"/>
                    <a:gd name="connsiteY128" fmla="*/ 353671 h 1192212"/>
                    <a:gd name="connsiteX129" fmla="*/ 862012 w 1100137"/>
                    <a:gd name="connsiteY129" fmla="*/ 282156 h 1192212"/>
                    <a:gd name="connsiteX130" fmla="*/ 862012 w 1100137"/>
                    <a:gd name="connsiteY130" fmla="*/ 250690 h 1192212"/>
                    <a:gd name="connsiteX131" fmla="*/ 862012 w 1100137"/>
                    <a:gd name="connsiteY131" fmla="*/ 179175 h 1192212"/>
                    <a:gd name="connsiteX132" fmla="*/ 862012 w 1100137"/>
                    <a:gd name="connsiteY132" fmla="*/ 155575 h 1192212"/>
                    <a:gd name="connsiteX133" fmla="*/ 532182 w 1100137"/>
                    <a:gd name="connsiteY133" fmla="*/ 155575 h 1192212"/>
                    <a:gd name="connsiteX134" fmla="*/ 489970 w 1100137"/>
                    <a:gd name="connsiteY134" fmla="*/ 155575 h 1192212"/>
                    <a:gd name="connsiteX135" fmla="*/ 474229 w 1100137"/>
                    <a:gd name="connsiteY135" fmla="*/ 155575 h 1192212"/>
                    <a:gd name="connsiteX136" fmla="*/ 458489 w 1100137"/>
                    <a:gd name="connsiteY136" fmla="*/ 155575 h 1192212"/>
                    <a:gd name="connsiteX137" fmla="*/ 444895 w 1100137"/>
                    <a:gd name="connsiteY137" fmla="*/ 155575 h 1192212"/>
                    <a:gd name="connsiteX138" fmla="*/ 429155 w 1100137"/>
                    <a:gd name="connsiteY138" fmla="*/ 155575 h 1192212"/>
                    <a:gd name="connsiteX139" fmla="*/ 413415 w 1100137"/>
                    <a:gd name="connsiteY139" fmla="*/ 155575 h 1192212"/>
                    <a:gd name="connsiteX140" fmla="*/ 397674 w 1100137"/>
                    <a:gd name="connsiteY140" fmla="*/ 155575 h 1192212"/>
                    <a:gd name="connsiteX141" fmla="*/ 381934 w 1100137"/>
                    <a:gd name="connsiteY141" fmla="*/ 155575 h 1192212"/>
                    <a:gd name="connsiteX142" fmla="*/ 238125 w 1100137"/>
                    <a:gd name="connsiteY142" fmla="*/ 155575 h 1192212"/>
                    <a:gd name="connsiteX143" fmla="*/ 444500 w 1100137"/>
                    <a:gd name="connsiteY143" fmla="*/ 31750 h 1192212"/>
                    <a:gd name="connsiteX144" fmla="*/ 444500 w 1100137"/>
                    <a:gd name="connsiteY144" fmla="*/ 125266 h 1192212"/>
                    <a:gd name="connsiteX145" fmla="*/ 458079 w 1100137"/>
                    <a:gd name="connsiteY145" fmla="*/ 125266 h 1192212"/>
                    <a:gd name="connsiteX146" fmla="*/ 473801 w 1100137"/>
                    <a:gd name="connsiteY146" fmla="*/ 125266 h 1192212"/>
                    <a:gd name="connsiteX147" fmla="*/ 489523 w 1100137"/>
                    <a:gd name="connsiteY147" fmla="*/ 125266 h 1192212"/>
                    <a:gd name="connsiteX148" fmla="*/ 876862 w 1100137"/>
                    <a:gd name="connsiteY148" fmla="*/ 125266 h 1192212"/>
                    <a:gd name="connsiteX149" fmla="*/ 879006 w 1100137"/>
                    <a:gd name="connsiteY149" fmla="*/ 125266 h 1192212"/>
                    <a:gd name="connsiteX150" fmla="*/ 892584 w 1100137"/>
                    <a:gd name="connsiteY150" fmla="*/ 140971 h 1192212"/>
                    <a:gd name="connsiteX151" fmla="*/ 892584 w 1100137"/>
                    <a:gd name="connsiteY151" fmla="*/ 149537 h 1192212"/>
                    <a:gd name="connsiteX152" fmla="*/ 892584 w 1100137"/>
                    <a:gd name="connsiteY152" fmla="*/ 180233 h 1192212"/>
                    <a:gd name="connsiteX153" fmla="*/ 892584 w 1100137"/>
                    <a:gd name="connsiteY153" fmla="*/ 251619 h 1192212"/>
                    <a:gd name="connsiteX154" fmla="*/ 892584 w 1100137"/>
                    <a:gd name="connsiteY154" fmla="*/ 283029 h 1192212"/>
                    <a:gd name="connsiteX155" fmla="*/ 892584 w 1100137"/>
                    <a:gd name="connsiteY155" fmla="*/ 354415 h 1192212"/>
                    <a:gd name="connsiteX156" fmla="*/ 892584 w 1100137"/>
                    <a:gd name="connsiteY156" fmla="*/ 385111 h 1192212"/>
                    <a:gd name="connsiteX157" fmla="*/ 892584 w 1100137"/>
                    <a:gd name="connsiteY157" fmla="*/ 457924 h 1192212"/>
                    <a:gd name="connsiteX158" fmla="*/ 892584 w 1100137"/>
                    <a:gd name="connsiteY158" fmla="*/ 487906 h 1192212"/>
                    <a:gd name="connsiteX159" fmla="*/ 892584 w 1100137"/>
                    <a:gd name="connsiteY159" fmla="*/ 560720 h 1192212"/>
                    <a:gd name="connsiteX160" fmla="*/ 892584 w 1100137"/>
                    <a:gd name="connsiteY160" fmla="*/ 591416 h 1192212"/>
                    <a:gd name="connsiteX161" fmla="*/ 892584 w 1100137"/>
                    <a:gd name="connsiteY161" fmla="*/ 662802 h 1192212"/>
                    <a:gd name="connsiteX162" fmla="*/ 892584 w 1100137"/>
                    <a:gd name="connsiteY162" fmla="*/ 694212 h 1192212"/>
                    <a:gd name="connsiteX163" fmla="*/ 892584 w 1100137"/>
                    <a:gd name="connsiteY163" fmla="*/ 765598 h 1192212"/>
                    <a:gd name="connsiteX164" fmla="*/ 892584 w 1100137"/>
                    <a:gd name="connsiteY164" fmla="*/ 796294 h 1192212"/>
                    <a:gd name="connsiteX165" fmla="*/ 892584 w 1100137"/>
                    <a:gd name="connsiteY165" fmla="*/ 884098 h 1192212"/>
                    <a:gd name="connsiteX166" fmla="*/ 892584 w 1100137"/>
                    <a:gd name="connsiteY166" fmla="*/ 899803 h 1192212"/>
                    <a:gd name="connsiteX167" fmla="*/ 892584 w 1100137"/>
                    <a:gd name="connsiteY167" fmla="*/ 911225 h 1192212"/>
                    <a:gd name="connsiteX168" fmla="*/ 1068387 w 1100137"/>
                    <a:gd name="connsiteY168" fmla="*/ 911225 h 1192212"/>
                    <a:gd name="connsiteX169" fmla="*/ 1068387 w 1100137"/>
                    <a:gd name="connsiteY169" fmla="*/ 31750 h 1192212"/>
                    <a:gd name="connsiteX170" fmla="*/ 444500 w 1100137"/>
                    <a:gd name="connsiteY170" fmla="*/ 31750 h 1192212"/>
                    <a:gd name="connsiteX171" fmla="*/ 427911 w 1100137"/>
                    <a:gd name="connsiteY171" fmla="*/ 0 h 1192212"/>
                    <a:gd name="connsiteX172" fmla="*/ 429339 w 1100137"/>
                    <a:gd name="connsiteY172" fmla="*/ 0 h 1192212"/>
                    <a:gd name="connsiteX173" fmla="*/ 1084421 w 1100137"/>
                    <a:gd name="connsiteY173" fmla="*/ 0 h 1192212"/>
                    <a:gd name="connsiteX174" fmla="*/ 1086564 w 1100137"/>
                    <a:gd name="connsiteY174" fmla="*/ 0 h 1192212"/>
                    <a:gd name="connsiteX175" fmla="*/ 1100137 w 1100137"/>
                    <a:gd name="connsiteY175" fmla="*/ 15706 h 1192212"/>
                    <a:gd name="connsiteX176" fmla="*/ 1100137 w 1100137"/>
                    <a:gd name="connsiteY176" fmla="*/ 926642 h 1192212"/>
                    <a:gd name="connsiteX177" fmla="*/ 1084421 w 1100137"/>
                    <a:gd name="connsiteY177" fmla="*/ 942347 h 1192212"/>
                    <a:gd name="connsiteX178" fmla="*/ 892969 w 1100137"/>
                    <a:gd name="connsiteY178" fmla="*/ 942347 h 1192212"/>
                    <a:gd name="connsiteX179" fmla="*/ 892969 w 1100137"/>
                    <a:gd name="connsiteY179" fmla="*/ 958053 h 1192212"/>
                    <a:gd name="connsiteX180" fmla="*/ 892969 w 1100137"/>
                    <a:gd name="connsiteY180" fmla="*/ 973759 h 1192212"/>
                    <a:gd name="connsiteX181" fmla="*/ 892969 w 1100137"/>
                    <a:gd name="connsiteY181" fmla="*/ 1051574 h 1192212"/>
                    <a:gd name="connsiteX182" fmla="*/ 877252 w 1100137"/>
                    <a:gd name="connsiteY182" fmla="*/ 1067280 h 1192212"/>
                    <a:gd name="connsiteX183" fmla="*/ 686514 w 1100137"/>
                    <a:gd name="connsiteY183" fmla="*/ 1067280 h 1192212"/>
                    <a:gd name="connsiteX184" fmla="*/ 686514 w 1100137"/>
                    <a:gd name="connsiteY184" fmla="*/ 1176506 h 1192212"/>
                    <a:gd name="connsiteX185" fmla="*/ 670798 w 1100137"/>
                    <a:gd name="connsiteY185" fmla="*/ 1192212 h 1192212"/>
                    <a:gd name="connsiteX186" fmla="*/ 15716 w 1100137"/>
                    <a:gd name="connsiteY186" fmla="*/ 1192212 h 1192212"/>
                    <a:gd name="connsiteX187" fmla="*/ 0 w 1100137"/>
                    <a:gd name="connsiteY187" fmla="*/ 1176506 h 1192212"/>
                    <a:gd name="connsiteX188" fmla="*/ 0 w 1100137"/>
                    <a:gd name="connsiteY188" fmla="*/ 265571 h 1192212"/>
                    <a:gd name="connsiteX189" fmla="*/ 15716 w 1100137"/>
                    <a:gd name="connsiteY189" fmla="*/ 249865 h 1192212"/>
                    <a:gd name="connsiteX190" fmla="*/ 207169 w 1100137"/>
                    <a:gd name="connsiteY190" fmla="*/ 249865 h 1192212"/>
                    <a:gd name="connsiteX191" fmla="*/ 207169 w 1100137"/>
                    <a:gd name="connsiteY191" fmla="*/ 140638 h 1192212"/>
                    <a:gd name="connsiteX192" fmla="*/ 222885 w 1100137"/>
                    <a:gd name="connsiteY192" fmla="*/ 124933 h 1192212"/>
                    <a:gd name="connsiteX193" fmla="*/ 382191 w 1100137"/>
                    <a:gd name="connsiteY193" fmla="*/ 124933 h 1192212"/>
                    <a:gd name="connsiteX194" fmla="*/ 397907 w 1100137"/>
                    <a:gd name="connsiteY194" fmla="*/ 124933 h 1192212"/>
                    <a:gd name="connsiteX195" fmla="*/ 413623 w 1100137"/>
                    <a:gd name="connsiteY195" fmla="*/ 124933 h 1192212"/>
                    <a:gd name="connsiteX196" fmla="*/ 413623 w 1100137"/>
                    <a:gd name="connsiteY196" fmla="*/ 15706 h 1192212"/>
                    <a:gd name="connsiteX197" fmla="*/ 427911 w 1100137"/>
                    <a:gd name="connsiteY197" fmla="*/ 0 h 119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100137" h="1192212">
                      <a:moveTo>
                        <a:pt x="31750" y="280987"/>
                      </a:moveTo>
                      <a:lnTo>
                        <a:pt x="31750" y="1162049"/>
                      </a:lnTo>
                      <a:lnTo>
                        <a:pt x="655637" y="1162049"/>
                      </a:lnTo>
                      <a:lnTo>
                        <a:pt x="655637" y="1068387"/>
                      </a:lnTo>
                      <a:lnTo>
                        <a:pt x="655637" y="1052512"/>
                      </a:lnTo>
                      <a:lnTo>
                        <a:pt x="655637" y="1036637"/>
                      </a:lnTo>
                      <a:lnTo>
                        <a:pt x="655637" y="1025524"/>
                      </a:lnTo>
                      <a:lnTo>
                        <a:pt x="655637" y="1009649"/>
                      </a:lnTo>
                      <a:lnTo>
                        <a:pt x="655637" y="993774"/>
                      </a:lnTo>
                      <a:lnTo>
                        <a:pt x="655637" y="974724"/>
                      </a:lnTo>
                      <a:lnTo>
                        <a:pt x="655637" y="958849"/>
                      </a:lnTo>
                      <a:lnTo>
                        <a:pt x="655637" y="942974"/>
                      </a:lnTo>
                      <a:lnTo>
                        <a:pt x="655637" y="927099"/>
                      </a:lnTo>
                      <a:lnTo>
                        <a:pt x="655637" y="920749"/>
                      </a:lnTo>
                      <a:lnTo>
                        <a:pt x="655637" y="911224"/>
                      </a:lnTo>
                      <a:lnTo>
                        <a:pt x="655637" y="900112"/>
                      </a:lnTo>
                      <a:lnTo>
                        <a:pt x="655637" y="890587"/>
                      </a:lnTo>
                      <a:lnTo>
                        <a:pt x="655637" y="884237"/>
                      </a:lnTo>
                      <a:lnTo>
                        <a:pt x="655637" y="868362"/>
                      </a:lnTo>
                      <a:lnTo>
                        <a:pt x="655637" y="819149"/>
                      </a:lnTo>
                      <a:lnTo>
                        <a:pt x="655637" y="796924"/>
                      </a:lnTo>
                      <a:lnTo>
                        <a:pt x="655637" y="787399"/>
                      </a:lnTo>
                      <a:lnTo>
                        <a:pt x="655637" y="765174"/>
                      </a:lnTo>
                      <a:lnTo>
                        <a:pt x="655637" y="715962"/>
                      </a:lnTo>
                      <a:lnTo>
                        <a:pt x="655637" y="693737"/>
                      </a:lnTo>
                      <a:lnTo>
                        <a:pt x="655637" y="685799"/>
                      </a:lnTo>
                      <a:lnTo>
                        <a:pt x="655637" y="661987"/>
                      </a:lnTo>
                      <a:lnTo>
                        <a:pt x="655637" y="612774"/>
                      </a:lnTo>
                      <a:lnTo>
                        <a:pt x="655637" y="590549"/>
                      </a:lnTo>
                      <a:lnTo>
                        <a:pt x="655637" y="582612"/>
                      </a:lnTo>
                      <a:lnTo>
                        <a:pt x="655637" y="560387"/>
                      </a:lnTo>
                      <a:lnTo>
                        <a:pt x="655637" y="509587"/>
                      </a:lnTo>
                      <a:lnTo>
                        <a:pt x="655637" y="487362"/>
                      </a:lnTo>
                      <a:lnTo>
                        <a:pt x="655637" y="479425"/>
                      </a:lnTo>
                      <a:lnTo>
                        <a:pt x="655637" y="457200"/>
                      </a:lnTo>
                      <a:lnTo>
                        <a:pt x="655637" y="407987"/>
                      </a:lnTo>
                      <a:lnTo>
                        <a:pt x="655637" y="384175"/>
                      </a:lnTo>
                      <a:lnTo>
                        <a:pt x="655637" y="376237"/>
                      </a:lnTo>
                      <a:lnTo>
                        <a:pt x="655637" y="354012"/>
                      </a:lnTo>
                      <a:lnTo>
                        <a:pt x="655637" y="304800"/>
                      </a:lnTo>
                      <a:lnTo>
                        <a:pt x="655637" y="282575"/>
                      </a:lnTo>
                      <a:lnTo>
                        <a:pt x="655637" y="280987"/>
                      </a:lnTo>
                      <a:lnTo>
                        <a:pt x="539750" y="280987"/>
                      </a:lnTo>
                      <a:lnTo>
                        <a:pt x="490537" y="280987"/>
                      </a:lnTo>
                      <a:lnTo>
                        <a:pt x="474662" y="280987"/>
                      </a:lnTo>
                      <a:lnTo>
                        <a:pt x="458787" y="280987"/>
                      </a:lnTo>
                      <a:lnTo>
                        <a:pt x="444500" y="280987"/>
                      </a:lnTo>
                      <a:lnTo>
                        <a:pt x="428625" y="280987"/>
                      </a:lnTo>
                      <a:lnTo>
                        <a:pt x="414337" y="280987"/>
                      </a:lnTo>
                      <a:lnTo>
                        <a:pt x="398462" y="280987"/>
                      </a:lnTo>
                      <a:lnTo>
                        <a:pt x="382587" y="280987"/>
                      </a:lnTo>
                      <a:lnTo>
                        <a:pt x="325437" y="280987"/>
                      </a:lnTo>
                      <a:lnTo>
                        <a:pt x="284163" y="280987"/>
                      </a:lnTo>
                      <a:lnTo>
                        <a:pt x="268288" y="280987"/>
                      </a:lnTo>
                      <a:lnTo>
                        <a:pt x="252413" y="280987"/>
                      </a:lnTo>
                      <a:lnTo>
                        <a:pt x="238125" y="280987"/>
                      </a:lnTo>
                      <a:lnTo>
                        <a:pt x="222250" y="280987"/>
                      </a:lnTo>
                      <a:lnTo>
                        <a:pt x="206375" y="280987"/>
                      </a:lnTo>
                      <a:close/>
                      <a:moveTo>
                        <a:pt x="238125" y="155575"/>
                      </a:moveTo>
                      <a:cubicBezTo>
                        <a:pt x="238125" y="155575"/>
                        <a:pt x="238125" y="155575"/>
                        <a:pt x="238125" y="249259"/>
                      </a:cubicBezTo>
                      <a:cubicBezTo>
                        <a:pt x="238125" y="249259"/>
                        <a:pt x="238125" y="249259"/>
                        <a:pt x="251719" y="249259"/>
                      </a:cubicBezTo>
                      <a:cubicBezTo>
                        <a:pt x="251719" y="249259"/>
                        <a:pt x="251719" y="249259"/>
                        <a:pt x="267459" y="249259"/>
                      </a:cubicBezTo>
                      <a:cubicBezTo>
                        <a:pt x="267459" y="249259"/>
                        <a:pt x="267459" y="249259"/>
                        <a:pt x="283200" y="249259"/>
                      </a:cubicBezTo>
                      <a:cubicBezTo>
                        <a:pt x="283200" y="249259"/>
                        <a:pt x="283200" y="249259"/>
                        <a:pt x="381934" y="249259"/>
                      </a:cubicBezTo>
                      <a:cubicBezTo>
                        <a:pt x="381934" y="249259"/>
                        <a:pt x="381934" y="249259"/>
                        <a:pt x="397674" y="249259"/>
                      </a:cubicBezTo>
                      <a:cubicBezTo>
                        <a:pt x="397674" y="249259"/>
                        <a:pt x="397674" y="249259"/>
                        <a:pt x="413415" y="249259"/>
                      </a:cubicBezTo>
                      <a:cubicBezTo>
                        <a:pt x="413415" y="249259"/>
                        <a:pt x="413415" y="249259"/>
                        <a:pt x="429155" y="249259"/>
                      </a:cubicBezTo>
                      <a:cubicBezTo>
                        <a:pt x="429155" y="249259"/>
                        <a:pt x="429155" y="249259"/>
                        <a:pt x="444895" y="249259"/>
                      </a:cubicBezTo>
                      <a:cubicBezTo>
                        <a:pt x="444895" y="249259"/>
                        <a:pt x="444895" y="249259"/>
                        <a:pt x="458489" y="249259"/>
                      </a:cubicBezTo>
                      <a:cubicBezTo>
                        <a:pt x="458489" y="249259"/>
                        <a:pt x="458489" y="249259"/>
                        <a:pt x="474229" y="249259"/>
                      </a:cubicBezTo>
                      <a:cubicBezTo>
                        <a:pt x="474229" y="249259"/>
                        <a:pt x="474229" y="249259"/>
                        <a:pt x="489970" y="249259"/>
                      </a:cubicBezTo>
                      <a:cubicBezTo>
                        <a:pt x="489970" y="249259"/>
                        <a:pt x="489970" y="249259"/>
                        <a:pt x="670983" y="249259"/>
                      </a:cubicBezTo>
                      <a:cubicBezTo>
                        <a:pt x="673129" y="249259"/>
                        <a:pt x="675275" y="249975"/>
                        <a:pt x="677422" y="250690"/>
                      </a:cubicBezTo>
                      <a:cubicBezTo>
                        <a:pt x="682430" y="253550"/>
                        <a:pt x="686723" y="258556"/>
                        <a:pt x="686723" y="264993"/>
                      </a:cubicBezTo>
                      <a:cubicBezTo>
                        <a:pt x="686723" y="264993"/>
                        <a:pt x="686723" y="264993"/>
                        <a:pt x="686723" y="273575"/>
                      </a:cubicBezTo>
                      <a:cubicBezTo>
                        <a:pt x="686723" y="273575"/>
                        <a:pt x="686723" y="273575"/>
                        <a:pt x="686723" y="282156"/>
                      </a:cubicBezTo>
                      <a:cubicBezTo>
                        <a:pt x="686723" y="282156"/>
                        <a:pt x="686723" y="282156"/>
                        <a:pt x="686723" y="304326"/>
                      </a:cubicBezTo>
                      <a:cubicBezTo>
                        <a:pt x="686723" y="304326"/>
                        <a:pt x="686723" y="304326"/>
                        <a:pt x="686723" y="353671"/>
                      </a:cubicBezTo>
                      <a:cubicBezTo>
                        <a:pt x="686723" y="353671"/>
                        <a:pt x="686723" y="353671"/>
                        <a:pt x="686723" y="375841"/>
                      </a:cubicBezTo>
                      <a:cubicBezTo>
                        <a:pt x="686723" y="375841"/>
                        <a:pt x="686723" y="375841"/>
                        <a:pt x="686723" y="384422"/>
                      </a:cubicBezTo>
                      <a:cubicBezTo>
                        <a:pt x="686723" y="384422"/>
                        <a:pt x="686723" y="384422"/>
                        <a:pt x="686723" y="407307"/>
                      </a:cubicBezTo>
                      <a:cubicBezTo>
                        <a:pt x="686723" y="407307"/>
                        <a:pt x="686723" y="407307"/>
                        <a:pt x="686723" y="457367"/>
                      </a:cubicBezTo>
                      <a:cubicBezTo>
                        <a:pt x="686723" y="457367"/>
                        <a:pt x="686723" y="457367"/>
                        <a:pt x="686723" y="478822"/>
                      </a:cubicBezTo>
                      <a:cubicBezTo>
                        <a:pt x="686723" y="478822"/>
                        <a:pt x="686723" y="478822"/>
                        <a:pt x="686723" y="487404"/>
                      </a:cubicBezTo>
                      <a:cubicBezTo>
                        <a:pt x="686723" y="487404"/>
                        <a:pt x="686723" y="487404"/>
                        <a:pt x="686723" y="509573"/>
                      </a:cubicBezTo>
                      <a:cubicBezTo>
                        <a:pt x="686723" y="509573"/>
                        <a:pt x="686723" y="509573"/>
                        <a:pt x="686723" y="560349"/>
                      </a:cubicBezTo>
                      <a:cubicBezTo>
                        <a:pt x="686723" y="560349"/>
                        <a:pt x="686723" y="560349"/>
                        <a:pt x="686723" y="582518"/>
                      </a:cubicBezTo>
                      <a:cubicBezTo>
                        <a:pt x="686723" y="582518"/>
                        <a:pt x="686723" y="582518"/>
                        <a:pt x="686723" y="591100"/>
                      </a:cubicBezTo>
                      <a:cubicBezTo>
                        <a:pt x="686723" y="591100"/>
                        <a:pt x="686723" y="591100"/>
                        <a:pt x="686723" y="612555"/>
                      </a:cubicBezTo>
                      <a:cubicBezTo>
                        <a:pt x="686723" y="612555"/>
                        <a:pt x="686723" y="612555"/>
                        <a:pt x="686723" y="662615"/>
                      </a:cubicBezTo>
                      <a:cubicBezTo>
                        <a:pt x="686723" y="662615"/>
                        <a:pt x="686723" y="662615"/>
                        <a:pt x="686723" y="685500"/>
                      </a:cubicBezTo>
                      <a:cubicBezTo>
                        <a:pt x="686723" y="685500"/>
                        <a:pt x="686723" y="685500"/>
                        <a:pt x="686723" y="694081"/>
                      </a:cubicBezTo>
                      <a:cubicBezTo>
                        <a:pt x="686723" y="694081"/>
                        <a:pt x="686723" y="694081"/>
                        <a:pt x="686723" y="716251"/>
                      </a:cubicBezTo>
                      <a:cubicBezTo>
                        <a:pt x="686723" y="716251"/>
                        <a:pt x="686723" y="716251"/>
                        <a:pt x="686723" y="765596"/>
                      </a:cubicBezTo>
                      <a:cubicBezTo>
                        <a:pt x="686723" y="765596"/>
                        <a:pt x="686723" y="765596"/>
                        <a:pt x="686723" y="787766"/>
                      </a:cubicBezTo>
                      <a:cubicBezTo>
                        <a:pt x="686723" y="787766"/>
                        <a:pt x="686723" y="787766"/>
                        <a:pt x="686723" y="796348"/>
                      </a:cubicBezTo>
                      <a:cubicBezTo>
                        <a:pt x="686723" y="796348"/>
                        <a:pt x="686723" y="796348"/>
                        <a:pt x="686723" y="819232"/>
                      </a:cubicBezTo>
                      <a:cubicBezTo>
                        <a:pt x="686723" y="819232"/>
                        <a:pt x="686723" y="819232"/>
                        <a:pt x="686723" y="868577"/>
                      </a:cubicBezTo>
                      <a:cubicBezTo>
                        <a:pt x="686723" y="868577"/>
                        <a:pt x="686723" y="868577"/>
                        <a:pt x="686723" y="884311"/>
                      </a:cubicBezTo>
                      <a:cubicBezTo>
                        <a:pt x="686723" y="884311"/>
                        <a:pt x="686723" y="884311"/>
                        <a:pt x="686723" y="890747"/>
                      </a:cubicBezTo>
                      <a:cubicBezTo>
                        <a:pt x="686723" y="890747"/>
                        <a:pt x="686723" y="890747"/>
                        <a:pt x="686723" y="900044"/>
                      </a:cubicBezTo>
                      <a:cubicBezTo>
                        <a:pt x="686723" y="900044"/>
                        <a:pt x="686723" y="900044"/>
                        <a:pt x="686723" y="911486"/>
                      </a:cubicBezTo>
                      <a:cubicBezTo>
                        <a:pt x="686723" y="911486"/>
                        <a:pt x="686723" y="911486"/>
                        <a:pt x="686723" y="921498"/>
                      </a:cubicBezTo>
                      <a:cubicBezTo>
                        <a:pt x="686723" y="921498"/>
                        <a:pt x="686723" y="921498"/>
                        <a:pt x="686723" y="927220"/>
                      </a:cubicBezTo>
                      <a:cubicBezTo>
                        <a:pt x="686723" y="927220"/>
                        <a:pt x="686723" y="927220"/>
                        <a:pt x="686723" y="942953"/>
                      </a:cubicBezTo>
                      <a:cubicBezTo>
                        <a:pt x="686723" y="942953"/>
                        <a:pt x="686723" y="942953"/>
                        <a:pt x="686723" y="958686"/>
                      </a:cubicBezTo>
                      <a:cubicBezTo>
                        <a:pt x="686723" y="958686"/>
                        <a:pt x="686723" y="958686"/>
                        <a:pt x="686723" y="974419"/>
                      </a:cubicBezTo>
                      <a:cubicBezTo>
                        <a:pt x="686723" y="974419"/>
                        <a:pt x="686723" y="974419"/>
                        <a:pt x="686723" y="1009462"/>
                      </a:cubicBezTo>
                      <a:cubicBezTo>
                        <a:pt x="686723" y="1009462"/>
                        <a:pt x="686723" y="1009462"/>
                        <a:pt x="686723" y="1025195"/>
                      </a:cubicBezTo>
                      <a:cubicBezTo>
                        <a:pt x="686723" y="1025195"/>
                        <a:pt x="686723" y="1025195"/>
                        <a:pt x="686723" y="1036637"/>
                      </a:cubicBezTo>
                      <a:cubicBezTo>
                        <a:pt x="686723" y="1036637"/>
                        <a:pt x="686723" y="1036637"/>
                        <a:pt x="862012" y="1036637"/>
                      </a:cubicBezTo>
                      <a:cubicBezTo>
                        <a:pt x="862012" y="1036637"/>
                        <a:pt x="862012" y="1036637"/>
                        <a:pt x="862012" y="974419"/>
                      </a:cubicBezTo>
                      <a:cubicBezTo>
                        <a:pt x="862012" y="974419"/>
                        <a:pt x="862012" y="974419"/>
                        <a:pt x="862012" y="958686"/>
                      </a:cubicBezTo>
                      <a:cubicBezTo>
                        <a:pt x="862012" y="958686"/>
                        <a:pt x="862012" y="958686"/>
                        <a:pt x="862012" y="942953"/>
                      </a:cubicBezTo>
                      <a:cubicBezTo>
                        <a:pt x="862012" y="942953"/>
                        <a:pt x="862012" y="942953"/>
                        <a:pt x="862012" y="927220"/>
                      </a:cubicBezTo>
                      <a:cubicBezTo>
                        <a:pt x="862012" y="927220"/>
                        <a:pt x="862012" y="927220"/>
                        <a:pt x="862012" y="911486"/>
                      </a:cubicBezTo>
                      <a:cubicBezTo>
                        <a:pt x="862012" y="911486"/>
                        <a:pt x="862012" y="911486"/>
                        <a:pt x="862012" y="900044"/>
                      </a:cubicBezTo>
                      <a:cubicBezTo>
                        <a:pt x="862012" y="900044"/>
                        <a:pt x="862012" y="900044"/>
                        <a:pt x="862012" y="884311"/>
                      </a:cubicBezTo>
                      <a:cubicBezTo>
                        <a:pt x="862012" y="884311"/>
                        <a:pt x="862012" y="884311"/>
                        <a:pt x="862012" y="868577"/>
                      </a:cubicBezTo>
                      <a:cubicBezTo>
                        <a:pt x="862012" y="868577"/>
                        <a:pt x="862012" y="868577"/>
                        <a:pt x="862012" y="796348"/>
                      </a:cubicBezTo>
                      <a:cubicBezTo>
                        <a:pt x="862012" y="796348"/>
                        <a:pt x="862012" y="796348"/>
                        <a:pt x="862012" y="765596"/>
                      </a:cubicBezTo>
                      <a:cubicBezTo>
                        <a:pt x="862012" y="765596"/>
                        <a:pt x="862012" y="765596"/>
                        <a:pt x="862012" y="694081"/>
                      </a:cubicBezTo>
                      <a:cubicBezTo>
                        <a:pt x="862012" y="694081"/>
                        <a:pt x="862012" y="694081"/>
                        <a:pt x="862012" y="662615"/>
                      </a:cubicBezTo>
                      <a:cubicBezTo>
                        <a:pt x="862012" y="662615"/>
                        <a:pt x="862012" y="662615"/>
                        <a:pt x="862012" y="591100"/>
                      </a:cubicBezTo>
                      <a:cubicBezTo>
                        <a:pt x="862012" y="591100"/>
                        <a:pt x="862012" y="591100"/>
                        <a:pt x="862012" y="560349"/>
                      </a:cubicBezTo>
                      <a:cubicBezTo>
                        <a:pt x="862012" y="560349"/>
                        <a:pt x="862012" y="560349"/>
                        <a:pt x="862012" y="487404"/>
                      </a:cubicBezTo>
                      <a:cubicBezTo>
                        <a:pt x="862012" y="487404"/>
                        <a:pt x="862012" y="487404"/>
                        <a:pt x="862012" y="457367"/>
                      </a:cubicBezTo>
                      <a:cubicBezTo>
                        <a:pt x="862012" y="457367"/>
                        <a:pt x="862012" y="457367"/>
                        <a:pt x="862012" y="384422"/>
                      </a:cubicBezTo>
                      <a:cubicBezTo>
                        <a:pt x="862012" y="384422"/>
                        <a:pt x="862012" y="384422"/>
                        <a:pt x="862012" y="353671"/>
                      </a:cubicBezTo>
                      <a:cubicBezTo>
                        <a:pt x="862012" y="353671"/>
                        <a:pt x="862012" y="353671"/>
                        <a:pt x="862012" y="282156"/>
                      </a:cubicBezTo>
                      <a:cubicBezTo>
                        <a:pt x="862012" y="282156"/>
                        <a:pt x="862012" y="282156"/>
                        <a:pt x="862012" y="250690"/>
                      </a:cubicBezTo>
                      <a:cubicBezTo>
                        <a:pt x="862012" y="250690"/>
                        <a:pt x="862012" y="250690"/>
                        <a:pt x="862012" y="179175"/>
                      </a:cubicBezTo>
                      <a:cubicBezTo>
                        <a:pt x="862012" y="179175"/>
                        <a:pt x="862012" y="179175"/>
                        <a:pt x="862012" y="155575"/>
                      </a:cubicBezTo>
                      <a:cubicBezTo>
                        <a:pt x="862012" y="155575"/>
                        <a:pt x="862012" y="155575"/>
                        <a:pt x="532182" y="155575"/>
                      </a:cubicBezTo>
                      <a:cubicBezTo>
                        <a:pt x="532182" y="155575"/>
                        <a:pt x="532182" y="155575"/>
                        <a:pt x="489970" y="155575"/>
                      </a:cubicBezTo>
                      <a:cubicBezTo>
                        <a:pt x="489970" y="155575"/>
                        <a:pt x="489970" y="155575"/>
                        <a:pt x="474229" y="155575"/>
                      </a:cubicBezTo>
                      <a:cubicBezTo>
                        <a:pt x="474229" y="155575"/>
                        <a:pt x="474229" y="155575"/>
                        <a:pt x="458489" y="155575"/>
                      </a:cubicBezTo>
                      <a:cubicBezTo>
                        <a:pt x="458489" y="155575"/>
                        <a:pt x="458489" y="155575"/>
                        <a:pt x="444895" y="155575"/>
                      </a:cubicBezTo>
                      <a:cubicBezTo>
                        <a:pt x="444895" y="155575"/>
                        <a:pt x="444895" y="155575"/>
                        <a:pt x="429155" y="155575"/>
                      </a:cubicBezTo>
                      <a:cubicBezTo>
                        <a:pt x="429155" y="155575"/>
                        <a:pt x="429155" y="155575"/>
                        <a:pt x="413415" y="155575"/>
                      </a:cubicBezTo>
                      <a:cubicBezTo>
                        <a:pt x="413415" y="155575"/>
                        <a:pt x="413415" y="155575"/>
                        <a:pt x="397674" y="155575"/>
                      </a:cubicBezTo>
                      <a:cubicBezTo>
                        <a:pt x="397674" y="155575"/>
                        <a:pt x="397674" y="155575"/>
                        <a:pt x="381934" y="155575"/>
                      </a:cubicBezTo>
                      <a:cubicBezTo>
                        <a:pt x="381934" y="155575"/>
                        <a:pt x="381934" y="155575"/>
                        <a:pt x="238125" y="155575"/>
                      </a:cubicBezTo>
                      <a:close/>
                      <a:moveTo>
                        <a:pt x="444500" y="31750"/>
                      </a:moveTo>
                      <a:lnTo>
                        <a:pt x="444500" y="125266"/>
                      </a:lnTo>
                      <a:cubicBezTo>
                        <a:pt x="444500" y="125266"/>
                        <a:pt x="444500" y="125266"/>
                        <a:pt x="458079" y="125266"/>
                      </a:cubicBezTo>
                      <a:cubicBezTo>
                        <a:pt x="458079" y="125266"/>
                        <a:pt x="458079" y="125266"/>
                        <a:pt x="473801" y="125266"/>
                      </a:cubicBezTo>
                      <a:cubicBezTo>
                        <a:pt x="473801" y="125266"/>
                        <a:pt x="473801" y="125266"/>
                        <a:pt x="489523" y="125266"/>
                      </a:cubicBezTo>
                      <a:cubicBezTo>
                        <a:pt x="489523" y="125266"/>
                        <a:pt x="489523" y="125266"/>
                        <a:pt x="876862" y="125266"/>
                      </a:cubicBezTo>
                      <a:cubicBezTo>
                        <a:pt x="877576" y="125266"/>
                        <a:pt x="878291" y="125266"/>
                        <a:pt x="879006" y="125266"/>
                      </a:cubicBezTo>
                      <a:cubicBezTo>
                        <a:pt x="886867" y="125980"/>
                        <a:pt x="892584" y="133118"/>
                        <a:pt x="892584" y="140971"/>
                      </a:cubicBezTo>
                      <a:cubicBezTo>
                        <a:pt x="892584" y="140971"/>
                        <a:pt x="892584" y="140971"/>
                        <a:pt x="892584" y="149537"/>
                      </a:cubicBezTo>
                      <a:cubicBezTo>
                        <a:pt x="892584" y="149537"/>
                        <a:pt x="892584" y="149537"/>
                        <a:pt x="892584" y="180233"/>
                      </a:cubicBezTo>
                      <a:cubicBezTo>
                        <a:pt x="892584" y="180233"/>
                        <a:pt x="892584" y="180233"/>
                        <a:pt x="892584" y="251619"/>
                      </a:cubicBezTo>
                      <a:cubicBezTo>
                        <a:pt x="892584" y="251619"/>
                        <a:pt x="892584" y="251619"/>
                        <a:pt x="892584" y="283029"/>
                      </a:cubicBezTo>
                      <a:cubicBezTo>
                        <a:pt x="892584" y="283029"/>
                        <a:pt x="892584" y="283029"/>
                        <a:pt x="892584" y="354415"/>
                      </a:cubicBezTo>
                      <a:cubicBezTo>
                        <a:pt x="892584" y="354415"/>
                        <a:pt x="892584" y="354415"/>
                        <a:pt x="892584" y="385111"/>
                      </a:cubicBezTo>
                      <a:cubicBezTo>
                        <a:pt x="892584" y="385111"/>
                        <a:pt x="892584" y="385111"/>
                        <a:pt x="892584" y="457924"/>
                      </a:cubicBezTo>
                      <a:cubicBezTo>
                        <a:pt x="892584" y="457924"/>
                        <a:pt x="892584" y="457924"/>
                        <a:pt x="892584" y="487906"/>
                      </a:cubicBezTo>
                      <a:cubicBezTo>
                        <a:pt x="892584" y="487906"/>
                        <a:pt x="892584" y="487906"/>
                        <a:pt x="892584" y="560720"/>
                      </a:cubicBezTo>
                      <a:cubicBezTo>
                        <a:pt x="892584" y="560720"/>
                        <a:pt x="892584" y="560720"/>
                        <a:pt x="892584" y="591416"/>
                      </a:cubicBezTo>
                      <a:cubicBezTo>
                        <a:pt x="892584" y="591416"/>
                        <a:pt x="892584" y="591416"/>
                        <a:pt x="892584" y="662802"/>
                      </a:cubicBezTo>
                      <a:cubicBezTo>
                        <a:pt x="892584" y="662802"/>
                        <a:pt x="892584" y="662802"/>
                        <a:pt x="892584" y="694212"/>
                      </a:cubicBezTo>
                      <a:cubicBezTo>
                        <a:pt x="892584" y="694212"/>
                        <a:pt x="892584" y="694212"/>
                        <a:pt x="892584" y="765598"/>
                      </a:cubicBezTo>
                      <a:cubicBezTo>
                        <a:pt x="892584" y="765598"/>
                        <a:pt x="892584" y="765598"/>
                        <a:pt x="892584" y="796294"/>
                      </a:cubicBezTo>
                      <a:cubicBezTo>
                        <a:pt x="892584" y="796294"/>
                        <a:pt x="892584" y="796294"/>
                        <a:pt x="892584" y="884098"/>
                      </a:cubicBezTo>
                      <a:cubicBezTo>
                        <a:pt x="892584" y="884098"/>
                        <a:pt x="892584" y="884098"/>
                        <a:pt x="892584" y="899803"/>
                      </a:cubicBezTo>
                      <a:cubicBezTo>
                        <a:pt x="892584" y="899803"/>
                        <a:pt x="892584" y="899803"/>
                        <a:pt x="892584" y="911225"/>
                      </a:cubicBezTo>
                      <a:cubicBezTo>
                        <a:pt x="892584" y="911225"/>
                        <a:pt x="892584" y="911225"/>
                        <a:pt x="1068387" y="911225"/>
                      </a:cubicBezTo>
                      <a:cubicBezTo>
                        <a:pt x="1068387" y="911225"/>
                        <a:pt x="1068387" y="911225"/>
                        <a:pt x="1068387" y="31750"/>
                      </a:cubicBezTo>
                      <a:cubicBezTo>
                        <a:pt x="1068387" y="31750"/>
                        <a:pt x="1068387" y="31750"/>
                        <a:pt x="444500" y="31750"/>
                      </a:cubicBezTo>
                      <a:close/>
                      <a:moveTo>
                        <a:pt x="427911" y="0"/>
                      </a:moveTo>
                      <a:cubicBezTo>
                        <a:pt x="428625" y="0"/>
                        <a:pt x="428625" y="0"/>
                        <a:pt x="429339" y="0"/>
                      </a:cubicBezTo>
                      <a:cubicBezTo>
                        <a:pt x="429339" y="0"/>
                        <a:pt x="429339" y="0"/>
                        <a:pt x="1084421" y="0"/>
                      </a:cubicBezTo>
                      <a:cubicBezTo>
                        <a:pt x="1085135" y="0"/>
                        <a:pt x="1085850" y="0"/>
                        <a:pt x="1086564" y="0"/>
                      </a:cubicBezTo>
                      <a:cubicBezTo>
                        <a:pt x="1094422" y="714"/>
                        <a:pt x="1100137" y="7853"/>
                        <a:pt x="1100137" y="15706"/>
                      </a:cubicBezTo>
                      <a:cubicBezTo>
                        <a:pt x="1100137" y="15706"/>
                        <a:pt x="1100137" y="15706"/>
                        <a:pt x="1100137" y="926642"/>
                      </a:cubicBezTo>
                      <a:cubicBezTo>
                        <a:pt x="1100137" y="935208"/>
                        <a:pt x="1092993" y="942347"/>
                        <a:pt x="1084421" y="942347"/>
                      </a:cubicBezTo>
                      <a:cubicBezTo>
                        <a:pt x="1084421" y="942347"/>
                        <a:pt x="1084421" y="942347"/>
                        <a:pt x="892969" y="942347"/>
                      </a:cubicBezTo>
                      <a:cubicBezTo>
                        <a:pt x="892969" y="942347"/>
                        <a:pt x="892969" y="942347"/>
                        <a:pt x="892969" y="958053"/>
                      </a:cubicBezTo>
                      <a:cubicBezTo>
                        <a:pt x="892969" y="958053"/>
                        <a:pt x="892969" y="958053"/>
                        <a:pt x="892969" y="973759"/>
                      </a:cubicBezTo>
                      <a:cubicBezTo>
                        <a:pt x="892969" y="973759"/>
                        <a:pt x="892969" y="973759"/>
                        <a:pt x="892969" y="1051574"/>
                      </a:cubicBezTo>
                      <a:cubicBezTo>
                        <a:pt x="892969" y="1060141"/>
                        <a:pt x="886539" y="1067280"/>
                        <a:pt x="877252" y="1067280"/>
                      </a:cubicBezTo>
                      <a:cubicBezTo>
                        <a:pt x="877252" y="1067280"/>
                        <a:pt x="877252" y="1067280"/>
                        <a:pt x="686514" y="1067280"/>
                      </a:cubicBezTo>
                      <a:cubicBezTo>
                        <a:pt x="686514" y="1067280"/>
                        <a:pt x="686514" y="1067280"/>
                        <a:pt x="686514" y="1176506"/>
                      </a:cubicBezTo>
                      <a:cubicBezTo>
                        <a:pt x="686514" y="1185073"/>
                        <a:pt x="679371" y="1192212"/>
                        <a:pt x="670798" y="1192212"/>
                      </a:cubicBezTo>
                      <a:cubicBezTo>
                        <a:pt x="670798" y="1192212"/>
                        <a:pt x="670798" y="1192212"/>
                        <a:pt x="15716" y="1192212"/>
                      </a:cubicBezTo>
                      <a:cubicBezTo>
                        <a:pt x="7144" y="1192212"/>
                        <a:pt x="0" y="1185073"/>
                        <a:pt x="0" y="1176506"/>
                      </a:cubicBezTo>
                      <a:cubicBezTo>
                        <a:pt x="0" y="1176506"/>
                        <a:pt x="0" y="1176506"/>
                        <a:pt x="0" y="265571"/>
                      </a:cubicBezTo>
                      <a:cubicBezTo>
                        <a:pt x="0" y="257004"/>
                        <a:pt x="7144" y="249865"/>
                        <a:pt x="15716" y="249865"/>
                      </a:cubicBezTo>
                      <a:cubicBezTo>
                        <a:pt x="15716" y="249865"/>
                        <a:pt x="15716" y="249865"/>
                        <a:pt x="207169" y="249865"/>
                      </a:cubicBezTo>
                      <a:cubicBezTo>
                        <a:pt x="207169" y="249865"/>
                        <a:pt x="207169" y="249865"/>
                        <a:pt x="207169" y="140638"/>
                      </a:cubicBezTo>
                      <a:cubicBezTo>
                        <a:pt x="207169" y="132072"/>
                        <a:pt x="213598" y="124933"/>
                        <a:pt x="222885" y="124933"/>
                      </a:cubicBezTo>
                      <a:cubicBezTo>
                        <a:pt x="222885" y="124933"/>
                        <a:pt x="222885" y="124933"/>
                        <a:pt x="382191" y="124933"/>
                      </a:cubicBezTo>
                      <a:cubicBezTo>
                        <a:pt x="382191" y="124933"/>
                        <a:pt x="382191" y="124933"/>
                        <a:pt x="397907" y="124933"/>
                      </a:cubicBezTo>
                      <a:cubicBezTo>
                        <a:pt x="397907" y="124933"/>
                        <a:pt x="397907" y="124933"/>
                        <a:pt x="413623" y="124933"/>
                      </a:cubicBezTo>
                      <a:cubicBezTo>
                        <a:pt x="413623" y="124933"/>
                        <a:pt x="413623" y="124933"/>
                        <a:pt x="413623" y="15706"/>
                      </a:cubicBezTo>
                      <a:cubicBezTo>
                        <a:pt x="413623" y="7853"/>
                        <a:pt x="420053" y="714"/>
                        <a:pt x="427911" y="0"/>
                      </a:cubicBezTo>
                      <a:close/>
                    </a:path>
                  </a:pathLst>
                </a:custGeom>
                <a:solidFill>
                  <a:srgbClr val="05193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6" name="Freeform 35"/>
                <p:cNvSpPr>
                  <a:spLocks/>
                </p:cNvSpPr>
                <p:nvPr/>
              </p:nvSpPr>
              <p:spPr bwMode="auto">
                <a:xfrm>
                  <a:off x="5661025" y="3036888"/>
                  <a:ext cx="869950" cy="896937"/>
                </a:xfrm>
                <a:custGeom>
                  <a:avLst/>
                  <a:gdLst>
                    <a:gd name="connsiteX0" fmla="*/ 15044 w 869950"/>
                    <a:gd name="connsiteY0" fmla="*/ 866775 h 896937"/>
                    <a:gd name="connsiteX1" fmla="*/ 90979 w 869950"/>
                    <a:gd name="connsiteY1" fmla="*/ 866775 h 896937"/>
                    <a:gd name="connsiteX2" fmla="*/ 106740 w 869950"/>
                    <a:gd name="connsiteY2" fmla="*/ 866775 h 896937"/>
                    <a:gd name="connsiteX3" fmla="*/ 122500 w 869950"/>
                    <a:gd name="connsiteY3" fmla="*/ 866775 h 896937"/>
                    <a:gd name="connsiteX4" fmla="*/ 136111 w 869950"/>
                    <a:gd name="connsiteY4" fmla="*/ 866775 h 896937"/>
                    <a:gd name="connsiteX5" fmla="*/ 440568 w 869950"/>
                    <a:gd name="connsiteY5" fmla="*/ 866775 h 896937"/>
                    <a:gd name="connsiteX6" fmla="*/ 454179 w 869950"/>
                    <a:gd name="connsiteY6" fmla="*/ 875894 h 896937"/>
                    <a:gd name="connsiteX7" fmla="*/ 455612 w 869950"/>
                    <a:gd name="connsiteY7" fmla="*/ 882207 h 896937"/>
                    <a:gd name="connsiteX8" fmla="*/ 455612 w 869950"/>
                    <a:gd name="connsiteY8" fmla="*/ 883610 h 896937"/>
                    <a:gd name="connsiteX9" fmla="*/ 454896 w 869950"/>
                    <a:gd name="connsiteY9" fmla="*/ 887117 h 896937"/>
                    <a:gd name="connsiteX10" fmla="*/ 445583 w 869950"/>
                    <a:gd name="connsiteY10" fmla="*/ 896236 h 896937"/>
                    <a:gd name="connsiteX11" fmla="*/ 444150 w 869950"/>
                    <a:gd name="connsiteY11" fmla="*/ 896937 h 896937"/>
                    <a:gd name="connsiteX12" fmla="*/ 443434 w 869950"/>
                    <a:gd name="connsiteY12" fmla="*/ 896937 h 896937"/>
                    <a:gd name="connsiteX13" fmla="*/ 440568 w 869950"/>
                    <a:gd name="connsiteY13" fmla="*/ 896937 h 896937"/>
                    <a:gd name="connsiteX14" fmla="*/ 106740 w 869950"/>
                    <a:gd name="connsiteY14" fmla="*/ 896937 h 896937"/>
                    <a:gd name="connsiteX15" fmla="*/ 90979 w 869950"/>
                    <a:gd name="connsiteY15" fmla="*/ 896937 h 896937"/>
                    <a:gd name="connsiteX16" fmla="*/ 15044 w 869950"/>
                    <a:gd name="connsiteY16" fmla="*/ 896937 h 896937"/>
                    <a:gd name="connsiteX17" fmla="*/ 14328 w 869950"/>
                    <a:gd name="connsiteY17" fmla="*/ 896937 h 896937"/>
                    <a:gd name="connsiteX18" fmla="*/ 0 w 869950"/>
                    <a:gd name="connsiteY18" fmla="*/ 882207 h 896937"/>
                    <a:gd name="connsiteX19" fmla="*/ 15044 w 869950"/>
                    <a:gd name="connsiteY19" fmla="*/ 866775 h 896937"/>
                    <a:gd name="connsiteX20" fmla="*/ 15044 w 869950"/>
                    <a:gd name="connsiteY20" fmla="*/ 763587 h 896937"/>
                    <a:gd name="connsiteX21" fmla="*/ 90979 w 869950"/>
                    <a:gd name="connsiteY21" fmla="*/ 763587 h 896937"/>
                    <a:gd name="connsiteX22" fmla="*/ 106740 w 869950"/>
                    <a:gd name="connsiteY22" fmla="*/ 763587 h 896937"/>
                    <a:gd name="connsiteX23" fmla="*/ 122500 w 869950"/>
                    <a:gd name="connsiteY23" fmla="*/ 763587 h 896937"/>
                    <a:gd name="connsiteX24" fmla="*/ 136111 w 869950"/>
                    <a:gd name="connsiteY24" fmla="*/ 763587 h 896937"/>
                    <a:gd name="connsiteX25" fmla="*/ 151871 w 869950"/>
                    <a:gd name="connsiteY25" fmla="*/ 763587 h 896937"/>
                    <a:gd name="connsiteX26" fmla="*/ 167631 w 869950"/>
                    <a:gd name="connsiteY26" fmla="*/ 763587 h 896937"/>
                    <a:gd name="connsiteX27" fmla="*/ 209181 w 869950"/>
                    <a:gd name="connsiteY27" fmla="*/ 763587 h 896937"/>
                    <a:gd name="connsiteX28" fmla="*/ 266490 w 869950"/>
                    <a:gd name="connsiteY28" fmla="*/ 763587 h 896937"/>
                    <a:gd name="connsiteX29" fmla="*/ 282250 w 869950"/>
                    <a:gd name="connsiteY29" fmla="*/ 763587 h 896937"/>
                    <a:gd name="connsiteX30" fmla="*/ 298011 w 869950"/>
                    <a:gd name="connsiteY30" fmla="*/ 763587 h 896937"/>
                    <a:gd name="connsiteX31" fmla="*/ 313771 w 869950"/>
                    <a:gd name="connsiteY31" fmla="*/ 763587 h 896937"/>
                    <a:gd name="connsiteX32" fmla="*/ 440568 w 869950"/>
                    <a:gd name="connsiteY32" fmla="*/ 763587 h 896937"/>
                    <a:gd name="connsiteX33" fmla="*/ 450598 w 869950"/>
                    <a:gd name="connsiteY33" fmla="*/ 767917 h 896937"/>
                    <a:gd name="connsiteX34" fmla="*/ 452030 w 869950"/>
                    <a:gd name="connsiteY34" fmla="*/ 769360 h 896937"/>
                    <a:gd name="connsiteX35" fmla="*/ 454179 w 869950"/>
                    <a:gd name="connsiteY35" fmla="*/ 772246 h 896937"/>
                    <a:gd name="connsiteX36" fmla="*/ 455612 w 869950"/>
                    <a:gd name="connsiteY36" fmla="*/ 778019 h 896937"/>
                    <a:gd name="connsiteX37" fmla="*/ 455612 w 869950"/>
                    <a:gd name="connsiteY37" fmla="*/ 779462 h 896937"/>
                    <a:gd name="connsiteX38" fmla="*/ 455612 w 869950"/>
                    <a:gd name="connsiteY38" fmla="*/ 782348 h 896937"/>
                    <a:gd name="connsiteX39" fmla="*/ 454896 w 869950"/>
                    <a:gd name="connsiteY39" fmla="*/ 783792 h 896937"/>
                    <a:gd name="connsiteX40" fmla="*/ 454896 w 869950"/>
                    <a:gd name="connsiteY40" fmla="*/ 784513 h 896937"/>
                    <a:gd name="connsiteX41" fmla="*/ 447732 w 869950"/>
                    <a:gd name="connsiteY41" fmla="*/ 793894 h 896937"/>
                    <a:gd name="connsiteX42" fmla="*/ 445583 w 869950"/>
                    <a:gd name="connsiteY42" fmla="*/ 794616 h 896937"/>
                    <a:gd name="connsiteX43" fmla="*/ 444867 w 869950"/>
                    <a:gd name="connsiteY43" fmla="*/ 794616 h 896937"/>
                    <a:gd name="connsiteX44" fmla="*/ 443434 w 869950"/>
                    <a:gd name="connsiteY44" fmla="*/ 795337 h 896937"/>
                    <a:gd name="connsiteX45" fmla="*/ 440568 w 869950"/>
                    <a:gd name="connsiteY45" fmla="*/ 795337 h 896937"/>
                    <a:gd name="connsiteX46" fmla="*/ 287981 w 869950"/>
                    <a:gd name="connsiteY46" fmla="*/ 795337 h 896937"/>
                    <a:gd name="connsiteX47" fmla="*/ 270072 w 869950"/>
                    <a:gd name="connsiteY47" fmla="*/ 795337 h 896937"/>
                    <a:gd name="connsiteX48" fmla="*/ 167631 w 869950"/>
                    <a:gd name="connsiteY48" fmla="*/ 795337 h 896937"/>
                    <a:gd name="connsiteX49" fmla="*/ 151871 w 869950"/>
                    <a:gd name="connsiteY49" fmla="*/ 795337 h 896937"/>
                    <a:gd name="connsiteX50" fmla="*/ 136111 w 869950"/>
                    <a:gd name="connsiteY50" fmla="*/ 795337 h 896937"/>
                    <a:gd name="connsiteX51" fmla="*/ 122500 w 869950"/>
                    <a:gd name="connsiteY51" fmla="*/ 795337 h 896937"/>
                    <a:gd name="connsiteX52" fmla="*/ 106740 w 869950"/>
                    <a:gd name="connsiteY52" fmla="*/ 795337 h 896937"/>
                    <a:gd name="connsiteX53" fmla="*/ 90979 w 869950"/>
                    <a:gd name="connsiteY53" fmla="*/ 795337 h 896937"/>
                    <a:gd name="connsiteX54" fmla="*/ 15044 w 869950"/>
                    <a:gd name="connsiteY54" fmla="*/ 795337 h 896937"/>
                    <a:gd name="connsiteX55" fmla="*/ 0 w 869950"/>
                    <a:gd name="connsiteY55" fmla="*/ 779462 h 896937"/>
                    <a:gd name="connsiteX56" fmla="*/ 15044 w 869950"/>
                    <a:gd name="connsiteY56" fmla="*/ 763587 h 896937"/>
                    <a:gd name="connsiteX57" fmla="*/ 601663 w 869950"/>
                    <a:gd name="connsiteY57" fmla="*/ 741362 h 896937"/>
                    <a:gd name="connsiteX58" fmla="*/ 646907 w 869950"/>
                    <a:gd name="connsiteY58" fmla="*/ 741362 h 896937"/>
                    <a:gd name="connsiteX59" fmla="*/ 660552 w 869950"/>
                    <a:gd name="connsiteY59" fmla="*/ 750481 h 896937"/>
                    <a:gd name="connsiteX60" fmla="*/ 661988 w 869950"/>
                    <a:gd name="connsiteY60" fmla="*/ 756794 h 896937"/>
                    <a:gd name="connsiteX61" fmla="*/ 661270 w 869950"/>
                    <a:gd name="connsiteY61" fmla="*/ 761704 h 896937"/>
                    <a:gd name="connsiteX62" fmla="*/ 646907 w 869950"/>
                    <a:gd name="connsiteY62" fmla="*/ 771524 h 896937"/>
                    <a:gd name="connsiteX63" fmla="*/ 601663 w 869950"/>
                    <a:gd name="connsiteY63" fmla="*/ 771524 h 896937"/>
                    <a:gd name="connsiteX64" fmla="*/ 601663 w 869950"/>
                    <a:gd name="connsiteY64" fmla="*/ 761704 h 896937"/>
                    <a:gd name="connsiteX65" fmla="*/ 601663 w 869950"/>
                    <a:gd name="connsiteY65" fmla="*/ 750481 h 896937"/>
                    <a:gd name="connsiteX66" fmla="*/ 601663 w 869950"/>
                    <a:gd name="connsiteY66" fmla="*/ 741362 h 896937"/>
                    <a:gd name="connsiteX67" fmla="*/ 15044 w 869950"/>
                    <a:gd name="connsiteY67" fmla="*/ 661987 h 896937"/>
                    <a:gd name="connsiteX68" fmla="*/ 90979 w 869950"/>
                    <a:gd name="connsiteY68" fmla="*/ 661987 h 896937"/>
                    <a:gd name="connsiteX69" fmla="*/ 106740 w 869950"/>
                    <a:gd name="connsiteY69" fmla="*/ 661987 h 896937"/>
                    <a:gd name="connsiteX70" fmla="*/ 122500 w 869950"/>
                    <a:gd name="connsiteY70" fmla="*/ 661987 h 896937"/>
                    <a:gd name="connsiteX71" fmla="*/ 136111 w 869950"/>
                    <a:gd name="connsiteY71" fmla="*/ 661987 h 896937"/>
                    <a:gd name="connsiteX72" fmla="*/ 151871 w 869950"/>
                    <a:gd name="connsiteY72" fmla="*/ 661987 h 896937"/>
                    <a:gd name="connsiteX73" fmla="*/ 167631 w 869950"/>
                    <a:gd name="connsiteY73" fmla="*/ 661987 h 896937"/>
                    <a:gd name="connsiteX74" fmla="*/ 209181 w 869950"/>
                    <a:gd name="connsiteY74" fmla="*/ 661987 h 896937"/>
                    <a:gd name="connsiteX75" fmla="*/ 266490 w 869950"/>
                    <a:gd name="connsiteY75" fmla="*/ 661987 h 896937"/>
                    <a:gd name="connsiteX76" fmla="*/ 282250 w 869950"/>
                    <a:gd name="connsiteY76" fmla="*/ 661987 h 896937"/>
                    <a:gd name="connsiteX77" fmla="*/ 298011 w 869950"/>
                    <a:gd name="connsiteY77" fmla="*/ 661987 h 896937"/>
                    <a:gd name="connsiteX78" fmla="*/ 313771 w 869950"/>
                    <a:gd name="connsiteY78" fmla="*/ 661987 h 896937"/>
                    <a:gd name="connsiteX79" fmla="*/ 329531 w 869950"/>
                    <a:gd name="connsiteY79" fmla="*/ 661987 h 896937"/>
                    <a:gd name="connsiteX80" fmla="*/ 343142 w 869950"/>
                    <a:gd name="connsiteY80" fmla="*/ 661987 h 896937"/>
                    <a:gd name="connsiteX81" fmla="*/ 358902 w 869950"/>
                    <a:gd name="connsiteY81" fmla="*/ 661987 h 896937"/>
                    <a:gd name="connsiteX82" fmla="*/ 374662 w 869950"/>
                    <a:gd name="connsiteY82" fmla="*/ 661987 h 896937"/>
                    <a:gd name="connsiteX83" fmla="*/ 440568 w 869950"/>
                    <a:gd name="connsiteY83" fmla="*/ 661987 h 896937"/>
                    <a:gd name="connsiteX84" fmla="*/ 454179 w 869950"/>
                    <a:gd name="connsiteY84" fmla="*/ 670404 h 896937"/>
                    <a:gd name="connsiteX85" fmla="*/ 455612 w 869950"/>
                    <a:gd name="connsiteY85" fmla="*/ 677419 h 896937"/>
                    <a:gd name="connsiteX86" fmla="*/ 440568 w 869950"/>
                    <a:gd name="connsiteY86" fmla="*/ 692149 h 896937"/>
                    <a:gd name="connsiteX87" fmla="*/ 374662 w 869950"/>
                    <a:gd name="connsiteY87" fmla="*/ 692149 h 896937"/>
                    <a:gd name="connsiteX88" fmla="*/ 358902 w 869950"/>
                    <a:gd name="connsiteY88" fmla="*/ 692149 h 896937"/>
                    <a:gd name="connsiteX89" fmla="*/ 343142 w 869950"/>
                    <a:gd name="connsiteY89" fmla="*/ 692149 h 896937"/>
                    <a:gd name="connsiteX90" fmla="*/ 329531 w 869950"/>
                    <a:gd name="connsiteY90" fmla="*/ 692149 h 896937"/>
                    <a:gd name="connsiteX91" fmla="*/ 313771 w 869950"/>
                    <a:gd name="connsiteY91" fmla="*/ 692149 h 896937"/>
                    <a:gd name="connsiteX92" fmla="*/ 298011 w 869950"/>
                    <a:gd name="connsiteY92" fmla="*/ 692149 h 896937"/>
                    <a:gd name="connsiteX93" fmla="*/ 282250 w 869950"/>
                    <a:gd name="connsiteY93" fmla="*/ 692149 h 896937"/>
                    <a:gd name="connsiteX94" fmla="*/ 266490 w 869950"/>
                    <a:gd name="connsiteY94" fmla="*/ 692149 h 896937"/>
                    <a:gd name="connsiteX95" fmla="*/ 167631 w 869950"/>
                    <a:gd name="connsiteY95" fmla="*/ 692149 h 896937"/>
                    <a:gd name="connsiteX96" fmla="*/ 151871 w 869950"/>
                    <a:gd name="connsiteY96" fmla="*/ 692149 h 896937"/>
                    <a:gd name="connsiteX97" fmla="*/ 136111 w 869950"/>
                    <a:gd name="connsiteY97" fmla="*/ 692149 h 896937"/>
                    <a:gd name="connsiteX98" fmla="*/ 122500 w 869950"/>
                    <a:gd name="connsiteY98" fmla="*/ 692149 h 896937"/>
                    <a:gd name="connsiteX99" fmla="*/ 106740 w 869950"/>
                    <a:gd name="connsiteY99" fmla="*/ 692149 h 896937"/>
                    <a:gd name="connsiteX100" fmla="*/ 90979 w 869950"/>
                    <a:gd name="connsiteY100" fmla="*/ 692149 h 896937"/>
                    <a:gd name="connsiteX101" fmla="*/ 15044 w 869950"/>
                    <a:gd name="connsiteY101" fmla="*/ 692149 h 896937"/>
                    <a:gd name="connsiteX102" fmla="*/ 0 w 869950"/>
                    <a:gd name="connsiteY102" fmla="*/ 677419 h 896937"/>
                    <a:gd name="connsiteX103" fmla="*/ 15044 w 869950"/>
                    <a:gd name="connsiteY103" fmla="*/ 661987 h 896937"/>
                    <a:gd name="connsiteX104" fmla="*/ 601663 w 869950"/>
                    <a:gd name="connsiteY104" fmla="*/ 638175 h 896937"/>
                    <a:gd name="connsiteX105" fmla="*/ 646907 w 869950"/>
                    <a:gd name="connsiteY105" fmla="*/ 638175 h 896937"/>
                    <a:gd name="connsiteX106" fmla="*/ 660552 w 869950"/>
                    <a:gd name="connsiteY106" fmla="*/ 646834 h 896937"/>
                    <a:gd name="connsiteX107" fmla="*/ 661988 w 869950"/>
                    <a:gd name="connsiteY107" fmla="*/ 654050 h 896937"/>
                    <a:gd name="connsiteX108" fmla="*/ 646907 w 869950"/>
                    <a:gd name="connsiteY108" fmla="*/ 669925 h 896937"/>
                    <a:gd name="connsiteX109" fmla="*/ 601663 w 869950"/>
                    <a:gd name="connsiteY109" fmla="*/ 669925 h 896937"/>
                    <a:gd name="connsiteX110" fmla="*/ 601663 w 869950"/>
                    <a:gd name="connsiteY110" fmla="*/ 646834 h 896937"/>
                    <a:gd name="connsiteX111" fmla="*/ 601663 w 869950"/>
                    <a:gd name="connsiteY111" fmla="*/ 638175 h 896937"/>
                    <a:gd name="connsiteX112" fmla="*/ 808038 w 869950"/>
                    <a:gd name="connsiteY112" fmla="*/ 615950 h 896937"/>
                    <a:gd name="connsiteX113" fmla="*/ 853926 w 869950"/>
                    <a:gd name="connsiteY113" fmla="*/ 615950 h 896937"/>
                    <a:gd name="connsiteX114" fmla="*/ 869950 w 869950"/>
                    <a:gd name="connsiteY114" fmla="*/ 631456 h 896937"/>
                    <a:gd name="connsiteX115" fmla="*/ 853926 w 869950"/>
                    <a:gd name="connsiteY115" fmla="*/ 647700 h 896937"/>
                    <a:gd name="connsiteX116" fmla="*/ 808038 w 869950"/>
                    <a:gd name="connsiteY116" fmla="*/ 647700 h 896937"/>
                    <a:gd name="connsiteX117" fmla="*/ 808038 w 869950"/>
                    <a:gd name="connsiteY117" fmla="*/ 615950 h 896937"/>
                    <a:gd name="connsiteX118" fmla="*/ 15044 w 869950"/>
                    <a:gd name="connsiteY118" fmla="*/ 558800 h 896937"/>
                    <a:gd name="connsiteX119" fmla="*/ 90979 w 869950"/>
                    <a:gd name="connsiteY119" fmla="*/ 558800 h 896937"/>
                    <a:gd name="connsiteX120" fmla="*/ 106740 w 869950"/>
                    <a:gd name="connsiteY120" fmla="*/ 558800 h 896937"/>
                    <a:gd name="connsiteX121" fmla="*/ 122500 w 869950"/>
                    <a:gd name="connsiteY121" fmla="*/ 558800 h 896937"/>
                    <a:gd name="connsiteX122" fmla="*/ 136111 w 869950"/>
                    <a:gd name="connsiteY122" fmla="*/ 558800 h 896937"/>
                    <a:gd name="connsiteX123" fmla="*/ 151871 w 869950"/>
                    <a:gd name="connsiteY123" fmla="*/ 558800 h 896937"/>
                    <a:gd name="connsiteX124" fmla="*/ 167631 w 869950"/>
                    <a:gd name="connsiteY124" fmla="*/ 558800 h 896937"/>
                    <a:gd name="connsiteX125" fmla="*/ 209181 w 869950"/>
                    <a:gd name="connsiteY125" fmla="*/ 558800 h 896937"/>
                    <a:gd name="connsiteX126" fmla="*/ 266490 w 869950"/>
                    <a:gd name="connsiteY126" fmla="*/ 558800 h 896937"/>
                    <a:gd name="connsiteX127" fmla="*/ 282250 w 869950"/>
                    <a:gd name="connsiteY127" fmla="*/ 558800 h 896937"/>
                    <a:gd name="connsiteX128" fmla="*/ 298011 w 869950"/>
                    <a:gd name="connsiteY128" fmla="*/ 558800 h 896937"/>
                    <a:gd name="connsiteX129" fmla="*/ 313771 w 869950"/>
                    <a:gd name="connsiteY129" fmla="*/ 558800 h 896937"/>
                    <a:gd name="connsiteX130" fmla="*/ 329531 w 869950"/>
                    <a:gd name="connsiteY130" fmla="*/ 558800 h 896937"/>
                    <a:gd name="connsiteX131" fmla="*/ 343142 w 869950"/>
                    <a:gd name="connsiteY131" fmla="*/ 558800 h 896937"/>
                    <a:gd name="connsiteX132" fmla="*/ 358902 w 869950"/>
                    <a:gd name="connsiteY132" fmla="*/ 558800 h 896937"/>
                    <a:gd name="connsiteX133" fmla="*/ 374662 w 869950"/>
                    <a:gd name="connsiteY133" fmla="*/ 558800 h 896937"/>
                    <a:gd name="connsiteX134" fmla="*/ 440568 w 869950"/>
                    <a:gd name="connsiteY134" fmla="*/ 558800 h 896937"/>
                    <a:gd name="connsiteX135" fmla="*/ 454179 w 869950"/>
                    <a:gd name="connsiteY135" fmla="*/ 567418 h 896937"/>
                    <a:gd name="connsiteX136" fmla="*/ 455612 w 869950"/>
                    <a:gd name="connsiteY136" fmla="*/ 573881 h 896937"/>
                    <a:gd name="connsiteX137" fmla="*/ 440568 w 869950"/>
                    <a:gd name="connsiteY137" fmla="*/ 588962 h 896937"/>
                    <a:gd name="connsiteX138" fmla="*/ 374662 w 869950"/>
                    <a:gd name="connsiteY138" fmla="*/ 588962 h 896937"/>
                    <a:gd name="connsiteX139" fmla="*/ 358902 w 869950"/>
                    <a:gd name="connsiteY139" fmla="*/ 588962 h 896937"/>
                    <a:gd name="connsiteX140" fmla="*/ 343142 w 869950"/>
                    <a:gd name="connsiteY140" fmla="*/ 588962 h 896937"/>
                    <a:gd name="connsiteX141" fmla="*/ 329531 w 869950"/>
                    <a:gd name="connsiteY141" fmla="*/ 588962 h 896937"/>
                    <a:gd name="connsiteX142" fmla="*/ 313771 w 869950"/>
                    <a:gd name="connsiteY142" fmla="*/ 588962 h 896937"/>
                    <a:gd name="connsiteX143" fmla="*/ 298011 w 869950"/>
                    <a:gd name="connsiteY143" fmla="*/ 588962 h 896937"/>
                    <a:gd name="connsiteX144" fmla="*/ 282250 w 869950"/>
                    <a:gd name="connsiteY144" fmla="*/ 588962 h 896937"/>
                    <a:gd name="connsiteX145" fmla="*/ 266490 w 869950"/>
                    <a:gd name="connsiteY145" fmla="*/ 588962 h 896937"/>
                    <a:gd name="connsiteX146" fmla="*/ 167631 w 869950"/>
                    <a:gd name="connsiteY146" fmla="*/ 588962 h 896937"/>
                    <a:gd name="connsiteX147" fmla="*/ 151871 w 869950"/>
                    <a:gd name="connsiteY147" fmla="*/ 588962 h 896937"/>
                    <a:gd name="connsiteX148" fmla="*/ 136111 w 869950"/>
                    <a:gd name="connsiteY148" fmla="*/ 588962 h 896937"/>
                    <a:gd name="connsiteX149" fmla="*/ 122500 w 869950"/>
                    <a:gd name="connsiteY149" fmla="*/ 588962 h 896937"/>
                    <a:gd name="connsiteX150" fmla="*/ 106740 w 869950"/>
                    <a:gd name="connsiteY150" fmla="*/ 588962 h 896937"/>
                    <a:gd name="connsiteX151" fmla="*/ 90979 w 869950"/>
                    <a:gd name="connsiteY151" fmla="*/ 588962 h 896937"/>
                    <a:gd name="connsiteX152" fmla="*/ 15044 w 869950"/>
                    <a:gd name="connsiteY152" fmla="*/ 588962 h 896937"/>
                    <a:gd name="connsiteX153" fmla="*/ 0 w 869950"/>
                    <a:gd name="connsiteY153" fmla="*/ 573881 h 896937"/>
                    <a:gd name="connsiteX154" fmla="*/ 15044 w 869950"/>
                    <a:gd name="connsiteY154" fmla="*/ 558800 h 896937"/>
                    <a:gd name="connsiteX155" fmla="*/ 601663 w 869950"/>
                    <a:gd name="connsiteY155" fmla="*/ 536575 h 896937"/>
                    <a:gd name="connsiteX156" fmla="*/ 646907 w 869950"/>
                    <a:gd name="connsiteY156" fmla="*/ 536575 h 896937"/>
                    <a:gd name="connsiteX157" fmla="*/ 660552 w 869950"/>
                    <a:gd name="connsiteY157" fmla="*/ 544992 h 896937"/>
                    <a:gd name="connsiteX158" fmla="*/ 661988 w 869950"/>
                    <a:gd name="connsiteY158" fmla="*/ 552007 h 896937"/>
                    <a:gd name="connsiteX159" fmla="*/ 646907 w 869950"/>
                    <a:gd name="connsiteY159" fmla="*/ 566737 h 896937"/>
                    <a:gd name="connsiteX160" fmla="*/ 601663 w 869950"/>
                    <a:gd name="connsiteY160" fmla="*/ 566737 h 896937"/>
                    <a:gd name="connsiteX161" fmla="*/ 601663 w 869950"/>
                    <a:gd name="connsiteY161" fmla="*/ 544992 h 896937"/>
                    <a:gd name="connsiteX162" fmla="*/ 601663 w 869950"/>
                    <a:gd name="connsiteY162" fmla="*/ 536575 h 896937"/>
                    <a:gd name="connsiteX163" fmla="*/ 808038 w 869950"/>
                    <a:gd name="connsiteY163" fmla="*/ 512762 h 896937"/>
                    <a:gd name="connsiteX164" fmla="*/ 853926 w 869950"/>
                    <a:gd name="connsiteY164" fmla="*/ 512762 h 896937"/>
                    <a:gd name="connsiteX165" fmla="*/ 869950 w 869950"/>
                    <a:gd name="connsiteY165" fmla="*/ 528637 h 896937"/>
                    <a:gd name="connsiteX166" fmla="*/ 853926 w 869950"/>
                    <a:gd name="connsiteY166" fmla="*/ 544512 h 896937"/>
                    <a:gd name="connsiteX167" fmla="*/ 808038 w 869950"/>
                    <a:gd name="connsiteY167" fmla="*/ 544512 h 896937"/>
                    <a:gd name="connsiteX168" fmla="*/ 808038 w 869950"/>
                    <a:gd name="connsiteY168" fmla="*/ 512762 h 896937"/>
                    <a:gd name="connsiteX169" fmla="*/ 15044 w 869950"/>
                    <a:gd name="connsiteY169" fmla="*/ 455612 h 896937"/>
                    <a:gd name="connsiteX170" fmla="*/ 90979 w 869950"/>
                    <a:gd name="connsiteY170" fmla="*/ 455612 h 896937"/>
                    <a:gd name="connsiteX171" fmla="*/ 106740 w 869950"/>
                    <a:gd name="connsiteY171" fmla="*/ 455612 h 896937"/>
                    <a:gd name="connsiteX172" fmla="*/ 122500 w 869950"/>
                    <a:gd name="connsiteY172" fmla="*/ 455612 h 896937"/>
                    <a:gd name="connsiteX173" fmla="*/ 136111 w 869950"/>
                    <a:gd name="connsiteY173" fmla="*/ 455612 h 896937"/>
                    <a:gd name="connsiteX174" fmla="*/ 151871 w 869950"/>
                    <a:gd name="connsiteY174" fmla="*/ 455612 h 896937"/>
                    <a:gd name="connsiteX175" fmla="*/ 167631 w 869950"/>
                    <a:gd name="connsiteY175" fmla="*/ 455612 h 896937"/>
                    <a:gd name="connsiteX176" fmla="*/ 208464 w 869950"/>
                    <a:gd name="connsiteY176" fmla="*/ 455612 h 896937"/>
                    <a:gd name="connsiteX177" fmla="*/ 266490 w 869950"/>
                    <a:gd name="connsiteY177" fmla="*/ 455612 h 896937"/>
                    <a:gd name="connsiteX178" fmla="*/ 282250 w 869950"/>
                    <a:gd name="connsiteY178" fmla="*/ 455612 h 896937"/>
                    <a:gd name="connsiteX179" fmla="*/ 298011 w 869950"/>
                    <a:gd name="connsiteY179" fmla="*/ 455612 h 896937"/>
                    <a:gd name="connsiteX180" fmla="*/ 313771 w 869950"/>
                    <a:gd name="connsiteY180" fmla="*/ 455612 h 896937"/>
                    <a:gd name="connsiteX181" fmla="*/ 329531 w 869950"/>
                    <a:gd name="connsiteY181" fmla="*/ 455612 h 896937"/>
                    <a:gd name="connsiteX182" fmla="*/ 343142 w 869950"/>
                    <a:gd name="connsiteY182" fmla="*/ 455612 h 896937"/>
                    <a:gd name="connsiteX183" fmla="*/ 358902 w 869950"/>
                    <a:gd name="connsiteY183" fmla="*/ 455612 h 896937"/>
                    <a:gd name="connsiteX184" fmla="*/ 374662 w 869950"/>
                    <a:gd name="connsiteY184" fmla="*/ 455612 h 896937"/>
                    <a:gd name="connsiteX185" fmla="*/ 440568 w 869950"/>
                    <a:gd name="connsiteY185" fmla="*/ 455612 h 896937"/>
                    <a:gd name="connsiteX186" fmla="*/ 454179 w 869950"/>
                    <a:gd name="connsiteY186" fmla="*/ 464029 h 896937"/>
                    <a:gd name="connsiteX187" fmla="*/ 455612 w 869950"/>
                    <a:gd name="connsiteY187" fmla="*/ 471044 h 896937"/>
                    <a:gd name="connsiteX188" fmla="*/ 440568 w 869950"/>
                    <a:gd name="connsiteY188" fmla="*/ 485774 h 896937"/>
                    <a:gd name="connsiteX189" fmla="*/ 374662 w 869950"/>
                    <a:gd name="connsiteY189" fmla="*/ 485774 h 896937"/>
                    <a:gd name="connsiteX190" fmla="*/ 358902 w 869950"/>
                    <a:gd name="connsiteY190" fmla="*/ 485774 h 896937"/>
                    <a:gd name="connsiteX191" fmla="*/ 343142 w 869950"/>
                    <a:gd name="connsiteY191" fmla="*/ 485774 h 896937"/>
                    <a:gd name="connsiteX192" fmla="*/ 329531 w 869950"/>
                    <a:gd name="connsiteY192" fmla="*/ 485774 h 896937"/>
                    <a:gd name="connsiteX193" fmla="*/ 313771 w 869950"/>
                    <a:gd name="connsiteY193" fmla="*/ 485774 h 896937"/>
                    <a:gd name="connsiteX194" fmla="*/ 298011 w 869950"/>
                    <a:gd name="connsiteY194" fmla="*/ 485774 h 896937"/>
                    <a:gd name="connsiteX195" fmla="*/ 282250 w 869950"/>
                    <a:gd name="connsiteY195" fmla="*/ 485774 h 896937"/>
                    <a:gd name="connsiteX196" fmla="*/ 266490 w 869950"/>
                    <a:gd name="connsiteY196" fmla="*/ 485774 h 896937"/>
                    <a:gd name="connsiteX197" fmla="*/ 167631 w 869950"/>
                    <a:gd name="connsiteY197" fmla="*/ 485774 h 896937"/>
                    <a:gd name="connsiteX198" fmla="*/ 151871 w 869950"/>
                    <a:gd name="connsiteY198" fmla="*/ 485774 h 896937"/>
                    <a:gd name="connsiteX199" fmla="*/ 136111 w 869950"/>
                    <a:gd name="connsiteY199" fmla="*/ 485774 h 896937"/>
                    <a:gd name="connsiteX200" fmla="*/ 122500 w 869950"/>
                    <a:gd name="connsiteY200" fmla="*/ 485774 h 896937"/>
                    <a:gd name="connsiteX201" fmla="*/ 106740 w 869950"/>
                    <a:gd name="connsiteY201" fmla="*/ 485774 h 896937"/>
                    <a:gd name="connsiteX202" fmla="*/ 90979 w 869950"/>
                    <a:gd name="connsiteY202" fmla="*/ 485774 h 896937"/>
                    <a:gd name="connsiteX203" fmla="*/ 15044 w 869950"/>
                    <a:gd name="connsiteY203" fmla="*/ 485774 h 896937"/>
                    <a:gd name="connsiteX204" fmla="*/ 0 w 869950"/>
                    <a:gd name="connsiteY204" fmla="*/ 471044 h 896937"/>
                    <a:gd name="connsiteX205" fmla="*/ 15044 w 869950"/>
                    <a:gd name="connsiteY205" fmla="*/ 455612 h 896937"/>
                    <a:gd name="connsiteX206" fmla="*/ 601663 w 869950"/>
                    <a:gd name="connsiteY206" fmla="*/ 433387 h 896937"/>
                    <a:gd name="connsiteX207" fmla="*/ 646907 w 869950"/>
                    <a:gd name="connsiteY207" fmla="*/ 433387 h 896937"/>
                    <a:gd name="connsiteX208" fmla="*/ 660552 w 869950"/>
                    <a:gd name="connsiteY208" fmla="*/ 442005 h 896937"/>
                    <a:gd name="connsiteX209" fmla="*/ 661988 w 869950"/>
                    <a:gd name="connsiteY209" fmla="*/ 448468 h 896937"/>
                    <a:gd name="connsiteX210" fmla="*/ 646907 w 869950"/>
                    <a:gd name="connsiteY210" fmla="*/ 463549 h 896937"/>
                    <a:gd name="connsiteX211" fmla="*/ 601663 w 869950"/>
                    <a:gd name="connsiteY211" fmla="*/ 463549 h 896937"/>
                    <a:gd name="connsiteX212" fmla="*/ 601663 w 869950"/>
                    <a:gd name="connsiteY212" fmla="*/ 442005 h 896937"/>
                    <a:gd name="connsiteX213" fmla="*/ 601663 w 869950"/>
                    <a:gd name="connsiteY213" fmla="*/ 433387 h 896937"/>
                    <a:gd name="connsiteX214" fmla="*/ 808038 w 869950"/>
                    <a:gd name="connsiteY214" fmla="*/ 411162 h 896937"/>
                    <a:gd name="connsiteX215" fmla="*/ 853926 w 869950"/>
                    <a:gd name="connsiteY215" fmla="*/ 411162 h 896937"/>
                    <a:gd name="connsiteX216" fmla="*/ 869950 w 869950"/>
                    <a:gd name="connsiteY216" fmla="*/ 425892 h 896937"/>
                    <a:gd name="connsiteX217" fmla="*/ 853926 w 869950"/>
                    <a:gd name="connsiteY217" fmla="*/ 441324 h 896937"/>
                    <a:gd name="connsiteX218" fmla="*/ 808038 w 869950"/>
                    <a:gd name="connsiteY218" fmla="*/ 441324 h 896937"/>
                    <a:gd name="connsiteX219" fmla="*/ 808038 w 869950"/>
                    <a:gd name="connsiteY219" fmla="*/ 411162 h 896937"/>
                    <a:gd name="connsiteX220" fmla="*/ 15044 w 869950"/>
                    <a:gd name="connsiteY220" fmla="*/ 352425 h 896937"/>
                    <a:gd name="connsiteX221" fmla="*/ 90979 w 869950"/>
                    <a:gd name="connsiteY221" fmla="*/ 352425 h 896937"/>
                    <a:gd name="connsiteX222" fmla="*/ 106740 w 869950"/>
                    <a:gd name="connsiteY222" fmla="*/ 352425 h 896937"/>
                    <a:gd name="connsiteX223" fmla="*/ 122500 w 869950"/>
                    <a:gd name="connsiteY223" fmla="*/ 352425 h 896937"/>
                    <a:gd name="connsiteX224" fmla="*/ 136111 w 869950"/>
                    <a:gd name="connsiteY224" fmla="*/ 352425 h 896937"/>
                    <a:gd name="connsiteX225" fmla="*/ 151871 w 869950"/>
                    <a:gd name="connsiteY225" fmla="*/ 352425 h 896937"/>
                    <a:gd name="connsiteX226" fmla="*/ 167631 w 869950"/>
                    <a:gd name="connsiteY226" fmla="*/ 352425 h 896937"/>
                    <a:gd name="connsiteX227" fmla="*/ 209181 w 869950"/>
                    <a:gd name="connsiteY227" fmla="*/ 352425 h 896937"/>
                    <a:gd name="connsiteX228" fmla="*/ 266490 w 869950"/>
                    <a:gd name="connsiteY228" fmla="*/ 352425 h 896937"/>
                    <a:gd name="connsiteX229" fmla="*/ 282250 w 869950"/>
                    <a:gd name="connsiteY229" fmla="*/ 352425 h 896937"/>
                    <a:gd name="connsiteX230" fmla="*/ 298011 w 869950"/>
                    <a:gd name="connsiteY230" fmla="*/ 352425 h 896937"/>
                    <a:gd name="connsiteX231" fmla="*/ 313771 w 869950"/>
                    <a:gd name="connsiteY231" fmla="*/ 352425 h 896937"/>
                    <a:gd name="connsiteX232" fmla="*/ 329531 w 869950"/>
                    <a:gd name="connsiteY232" fmla="*/ 352425 h 896937"/>
                    <a:gd name="connsiteX233" fmla="*/ 343142 w 869950"/>
                    <a:gd name="connsiteY233" fmla="*/ 352425 h 896937"/>
                    <a:gd name="connsiteX234" fmla="*/ 358902 w 869950"/>
                    <a:gd name="connsiteY234" fmla="*/ 352425 h 896937"/>
                    <a:gd name="connsiteX235" fmla="*/ 374662 w 869950"/>
                    <a:gd name="connsiteY235" fmla="*/ 352425 h 896937"/>
                    <a:gd name="connsiteX236" fmla="*/ 440568 w 869950"/>
                    <a:gd name="connsiteY236" fmla="*/ 352425 h 896937"/>
                    <a:gd name="connsiteX237" fmla="*/ 454179 w 869950"/>
                    <a:gd name="connsiteY237" fmla="*/ 361084 h 896937"/>
                    <a:gd name="connsiteX238" fmla="*/ 455612 w 869950"/>
                    <a:gd name="connsiteY238" fmla="*/ 368300 h 896937"/>
                    <a:gd name="connsiteX239" fmla="*/ 440568 w 869950"/>
                    <a:gd name="connsiteY239" fmla="*/ 384175 h 896937"/>
                    <a:gd name="connsiteX240" fmla="*/ 374662 w 869950"/>
                    <a:gd name="connsiteY240" fmla="*/ 384175 h 896937"/>
                    <a:gd name="connsiteX241" fmla="*/ 358902 w 869950"/>
                    <a:gd name="connsiteY241" fmla="*/ 384175 h 896937"/>
                    <a:gd name="connsiteX242" fmla="*/ 343142 w 869950"/>
                    <a:gd name="connsiteY242" fmla="*/ 384175 h 896937"/>
                    <a:gd name="connsiteX243" fmla="*/ 329531 w 869950"/>
                    <a:gd name="connsiteY243" fmla="*/ 384175 h 896937"/>
                    <a:gd name="connsiteX244" fmla="*/ 313771 w 869950"/>
                    <a:gd name="connsiteY244" fmla="*/ 384175 h 896937"/>
                    <a:gd name="connsiteX245" fmla="*/ 298011 w 869950"/>
                    <a:gd name="connsiteY245" fmla="*/ 384175 h 896937"/>
                    <a:gd name="connsiteX246" fmla="*/ 282250 w 869950"/>
                    <a:gd name="connsiteY246" fmla="*/ 384175 h 896937"/>
                    <a:gd name="connsiteX247" fmla="*/ 266490 w 869950"/>
                    <a:gd name="connsiteY247" fmla="*/ 384175 h 896937"/>
                    <a:gd name="connsiteX248" fmla="*/ 167631 w 869950"/>
                    <a:gd name="connsiteY248" fmla="*/ 384175 h 896937"/>
                    <a:gd name="connsiteX249" fmla="*/ 151871 w 869950"/>
                    <a:gd name="connsiteY249" fmla="*/ 384175 h 896937"/>
                    <a:gd name="connsiteX250" fmla="*/ 136111 w 869950"/>
                    <a:gd name="connsiteY250" fmla="*/ 384175 h 896937"/>
                    <a:gd name="connsiteX251" fmla="*/ 122500 w 869950"/>
                    <a:gd name="connsiteY251" fmla="*/ 384175 h 896937"/>
                    <a:gd name="connsiteX252" fmla="*/ 106740 w 869950"/>
                    <a:gd name="connsiteY252" fmla="*/ 384175 h 896937"/>
                    <a:gd name="connsiteX253" fmla="*/ 90979 w 869950"/>
                    <a:gd name="connsiteY253" fmla="*/ 384175 h 896937"/>
                    <a:gd name="connsiteX254" fmla="*/ 15044 w 869950"/>
                    <a:gd name="connsiteY254" fmla="*/ 384175 h 896937"/>
                    <a:gd name="connsiteX255" fmla="*/ 0 w 869950"/>
                    <a:gd name="connsiteY255" fmla="*/ 368300 h 896937"/>
                    <a:gd name="connsiteX256" fmla="*/ 15044 w 869950"/>
                    <a:gd name="connsiteY256" fmla="*/ 352425 h 896937"/>
                    <a:gd name="connsiteX257" fmla="*/ 601663 w 869950"/>
                    <a:gd name="connsiteY257" fmla="*/ 330200 h 896937"/>
                    <a:gd name="connsiteX258" fmla="*/ 646907 w 869950"/>
                    <a:gd name="connsiteY258" fmla="*/ 330200 h 896937"/>
                    <a:gd name="connsiteX259" fmla="*/ 660552 w 869950"/>
                    <a:gd name="connsiteY259" fmla="*/ 338617 h 896937"/>
                    <a:gd name="connsiteX260" fmla="*/ 661988 w 869950"/>
                    <a:gd name="connsiteY260" fmla="*/ 344930 h 896937"/>
                    <a:gd name="connsiteX261" fmla="*/ 646907 w 869950"/>
                    <a:gd name="connsiteY261" fmla="*/ 360362 h 896937"/>
                    <a:gd name="connsiteX262" fmla="*/ 601663 w 869950"/>
                    <a:gd name="connsiteY262" fmla="*/ 360362 h 896937"/>
                    <a:gd name="connsiteX263" fmla="*/ 601663 w 869950"/>
                    <a:gd name="connsiteY263" fmla="*/ 338617 h 896937"/>
                    <a:gd name="connsiteX264" fmla="*/ 601663 w 869950"/>
                    <a:gd name="connsiteY264" fmla="*/ 330200 h 896937"/>
                    <a:gd name="connsiteX265" fmla="*/ 808038 w 869950"/>
                    <a:gd name="connsiteY265" fmla="*/ 307975 h 896937"/>
                    <a:gd name="connsiteX266" fmla="*/ 853926 w 869950"/>
                    <a:gd name="connsiteY266" fmla="*/ 307975 h 896937"/>
                    <a:gd name="connsiteX267" fmla="*/ 869950 w 869950"/>
                    <a:gd name="connsiteY267" fmla="*/ 323056 h 896937"/>
                    <a:gd name="connsiteX268" fmla="*/ 853926 w 869950"/>
                    <a:gd name="connsiteY268" fmla="*/ 338137 h 896937"/>
                    <a:gd name="connsiteX269" fmla="*/ 808038 w 869950"/>
                    <a:gd name="connsiteY269" fmla="*/ 338137 h 896937"/>
                    <a:gd name="connsiteX270" fmla="*/ 808038 w 869950"/>
                    <a:gd name="connsiteY270" fmla="*/ 307975 h 896937"/>
                    <a:gd name="connsiteX271" fmla="*/ 15044 w 869950"/>
                    <a:gd name="connsiteY271" fmla="*/ 249237 h 896937"/>
                    <a:gd name="connsiteX272" fmla="*/ 90979 w 869950"/>
                    <a:gd name="connsiteY272" fmla="*/ 249237 h 896937"/>
                    <a:gd name="connsiteX273" fmla="*/ 106740 w 869950"/>
                    <a:gd name="connsiteY273" fmla="*/ 249237 h 896937"/>
                    <a:gd name="connsiteX274" fmla="*/ 122500 w 869950"/>
                    <a:gd name="connsiteY274" fmla="*/ 249237 h 896937"/>
                    <a:gd name="connsiteX275" fmla="*/ 136111 w 869950"/>
                    <a:gd name="connsiteY275" fmla="*/ 249237 h 896937"/>
                    <a:gd name="connsiteX276" fmla="*/ 151871 w 869950"/>
                    <a:gd name="connsiteY276" fmla="*/ 249237 h 896937"/>
                    <a:gd name="connsiteX277" fmla="*/ 167631 w 869950"/>
                    <a:gd name="connsiteY277" fmla="*/ 249237 h 896937"/>
                    <a:gd name="connsiteX278" fmla="*/ 209181 w 869950"/>
                    <a:gd name="connsiteY278" fmla="*/ 249237 h 896937"/>
                    <a:gd name="connsiteX279" fmla="*/ 266490 w 869950"/>
                    <a:gd name="connsiteY279" fmla="*/ 249237 h 896937"/>
                    <a:gd name="connsiteX280" fmla="*/ 282250 w 869950"/>
                    <a:gd name="connsiteY280" fmla="*/ 249237 h 896937"/>
                    <a:gd name="connsiteX281" fmla="*/ 298011 w 869950"/>
                    <a:gd name="connsiteY281" fmla="*/ 249237 h 896937"/>
                    <a:gd name="connsiteX282" fmla="*/ 313771 w 869950"/>
                    <a:gd name="connsiteY282" fmla="*/ 249237 h 896937"/>
                    <a:gd name="connsiteX283" fmla="*/ 329531 w 869950"/>
                    <a:gd name="connsiteY283" fmla="*/ 249237 h 896937"/>
                    <a:gd name="connsiteX284" fmla="*/ 343142 w 869950"/>
                    <a:gd name="connsiteY284" fmla="*/ 249237 h 896937"/>
                    <a:gd name="connsiteX285" fmla="*/ 358902 w 869950"/>
                    <a:gd name="connsiteY285" fmla="*/ 249237 h 896937"/>
                    <a:gd name="connsiteX286" fmla="*/ 374662 w 869950"/>
                    <a:gd name="connsiteY286" fmla="*/ 249237 h 896937"/>
                    <a:gd name="connsiteX287" fmla="*/ 440568 w 869950"/>
                    <a:gd name="connsiteY287" fmla="*/ 249237 h 896937"/>
                    <a:gd name="connsiteX288" fmla="*/ 454179 w 869950"/>
                    <a:gd name="connsiteY288" fmla="*/ 258097 h 896937"/>
                    <a:gd name="connsiteX289" fmla="*/ 455612 w 869950"/>
                    <a:gd name="connsiteY289" fmla="*/ 265481 h 896937"/>
                    <a:gd name="connsiteX290" fmla="*/ 440568 w 869950"/>
                    <a:gd name="connsiteY290" fmla="*/ 280987 h 896937"/>
                    <a:gd name="connsiteX291" fmla="*/ 374662 w 869950"/>
                    <a:gd name="connsiteY291" fmla="*/ 280987 h 896937"/>
                    <a:gd name="connsiteX292" fmla="*/ 358902 w 869950"/>
                    <a:gd name="connsiteY292" fmla="*/ 280987 h 896937"/>
                    <a:gd name="connsiteX293" fmla="*/ 343142 w 869950"/>
                    <a:gd name="connsiteY293" fmla="*/ 280987 h 896937"/>
                    <a:gd name="connsiteX294" fmla="*/ 329531 w 869950"/>
                    <a:gd name="connsiteY294" fmla="*/ 280987 h 896937"/>
                    <a:gd name="connsiteX295" fmla="*/ 313771 w 869950"/>
                    <a:gd name="connsiteY295" fmla="*/ 280987 h 896937"/>
                    <a:gd name="connsiteX296" fmla="*/ 298011 w 869950"/>
                    <a:gd name="connsiteY296" fmla="*/ 280987 h 896937"/>
                    <a:gd name="connsiteX297" fmla="*/ 282250 w 869950"/>
                    <a:gd name="connsiteY297" fmla="*/ 280987 h 896937"/>
                    <a:gd name="connsiteX298" fmla="*/ 266490 w 869950"/>
                    <a:gd name="connsiteY298" fmla="*/ 280987 h 896937"/>
                    <a:gd name="connsiteX299" fmla="*/ 167631 w 869950"/>
                    <a:gd name="connsiteY299" fmla="*/ 280987 h 896937"/>
                    <a:gd name="connsiteX300" fmla="*/ 151871 w 869950"/>
                    <a:gd name="connsiteY300" fmla="*/ 280987 h 896937"/>
                    <a:gd name="connsiteX301" fmla="*/ 136111 w 869950"/>
                    <a:gd name="connsiteY301" fmla="*/ 280987 h 896937"/>
                    <a:gd name="connsiteX302" fmla="*/ 122500 w 869950"/>
                    <a:gd name="connsiteY302" fmla="*/ 280987 h 896937"/>
                    <a:gd name="connsiteX303" fmla="*/ 106740 w 869950"/>
                    <a:gd name="connsiteY303" fmla="*/ 280987 h 896937"/>
                    <a:gd name="connsiteX304" fmla="*/ 90979 w 869950"/>
                    <a:gd name="connsiteY304" fmla="*/ 280987 h 896937"/>
                    <a:gd name="connsiteX305" fmla="*/ 15044 w 869950"/>
                    <a:gd name="connsiteY305" fmla="*/ 280987 h 896937"/>
                    <a:gd name="connsiteX306" fmla="*/ 0 w 869950"/>
                    <a:gd name="connsiteY306" fmla="*/ 265481 h 896937"/>
                    <a:gd name="connsiteX307" fmla="*/ 15044 w 869950"/>
                    <a:gd name="connsiteY307" fmla="*/ 249237 h 896937"/>
                    <a:gd name="connsiteX308" fmla="*/ 601663 w 869950"/>
                    <a:gd name="connsiteY308" fmla="*/ 227012 h 896937"/>
                    <a:gd name="connsiteX309" fmla="*/ 646907 w 869950"/>
                    <a:gd name="connsiteY309" fmla="*/ 227012 h 896937"/>
                    <a:gd name="connsiteX310" fmla="*/ 660552 w 869950"/>
                    <a:gd name="connsiteY310" fmla="*/ 235671 h 896937"/>
                    <a:gd name="connsiteX311" fmla="*/ 661988 w 869950"/>
                    <a:gd name="connsiteY311" fmla="*/ 242887 h 896937"/>
                    <a:gd name="connsiteX312" fmla="*/ 646907 w 869950"/>
                    <a:gd name="connsiteY312" fmla="*/ 258762 h 896937"/>
                    <a:gd name="connsiteX313" fmla="*/ 601663 w 869950"/>
                    <a:gd name="connsiteY313" fmla="*/ 258762 h 896937"/>
                    <a:gd name="connsiteX314" fmla="*/ 601663 w 869950"/>
                    <a:gd name="connsiteY314" fmla="*/ 235671 h 896937"/>
                    <a:gd name="connsiteX315" fmla="*/ 601663 w 869950"/>
                    <a:gd name="connsiteY315" fmla="*/ 227012 h 896937"/>
                    <a:gd name="connsiteX316" fmla="*/ 808038 w 869950"/>
                    <a:gd name="connsiteY316" fmla="*/ 204787 h 896937"/>
                    <a:gd name="connsiteX317" fmla="*/ 853926 w 869950"/>
                    <a:gd name="connsiteY317" fmla="*/ 204787 h 896937"/>
                    <a:gd name="connsiteX318" fmla="*/ 869950 w 869950"/>
                    <a:gd name="connsiteY318" fmla="*/ 219517 h 896937"/>
                    <a:gd name="connsiteX319" fmla="*/ 853926 w 869950"/>
                    <a:gd name="connsiteY319" fmla="*/ 234949 h 896937"/>
                    <a:gd name="connsiteX320" fmla="*/ 808038 w 869950"/>
                    <a:gd name="connsiteY320" fmla="*/ 234949 h 896937"/>
                    <a:gd name="connsiteX321" fmla="*/ 808038 w 869950"/>
                    <a:gd name="connsiteY321" fmla="*/ 204787 h 896937"/>
                    <a:gd name="connsiteX322" fmla="*/ 601663 w 869950"/>
                    <a:gd name="connsiteY322" fmla="*/ 125412 h 896937"/>
                    <a:gd name="connsiteX323" fmla="*/ 646907 w 869950"/>
                    <a:gd name="connsiteY323" fmla="*/ 125412 h 896937"/>
                    <a:gd name="connsiteX324" fmla="*/ 660552 w 869950"/>
                    <a:gd name="connsiteY324" fmla="*/ 133829 h 896937"/>
                    <a:gd name="connsiteX325" fmla="*/ 661988 w 869950"/>
                    <a:gd name="connsiteY325" fmla="*/ 140142 h 896937"/>
                    <a:gd name="connsiteX326" fmla="*/ 646907 w 869950"/>
                    <a:gd name="connsiteY326" fmla="*/ 155574 h 896937"/>
                    <a:gd name="connsiteX327" fmla="*/ 601663 w 869950"/>
                    <a:gd name="connsiteY327" fmla="*/ 155574 h 896937"/>
                    <a:gd name="connsiteX328" fmla="*/ 601663 w 869950"/>
                    <a:gd name="connsiteY328" fmla="*/ 133829 h 896937"/>
                    <a:gd name="connsiteX329" fmla="*/ 601663 w 869950"/>
                    <a:gd name="connsiteY329" fmla="*/ 125412 h 896937"/>
                    <a:gd name="connsiteX330" fmla="*/ 808038 w 869950"/>
                    <a:gd name="connsiteY330" fmla="*/ 101600 h 896937"/>
                    <a:gd name="connsiteX331" fmla="*/ 853926 w 869950"/>
                    <a:gd name="connsiteY331" fmla="*/ 101600 h 896937"/>
                    <a:gd name="connsiteX332" fmla="*/ 869950 w 869950"/>
                    <a:gd name="connsiteY332" fmla="*/ 117475 h 896937"/>
                    <a:gd name="connsiteX333" fmla="*/ 853926 w 869950"/>
                    <a:gd name="connsiteY333" fmla="*/ 133350 h 896937"/>
                    <a:gd name="connsiteX334" fmla="*/ 808038 w 869950"/>
                    <a:gd name="connsiteY334" fmla="*/ 133350 h 896937"/>
                    <a:gd name="connsiteX335" fmla="*/ 808038 w 869950"/>
                    <a:gd name="connsiteY335" fmla="*/ 101600 h 896937"/>
                    <a:gd name="connsiteX336" fmla="*/ 808038 w 869950"/>
                    <a:gd name="connsiteY336" fmla="*/ 0 h 896937"/>
                    <a:gd name="connsiteX337" fmla="*/ 853926 w 869950"/>
                    <a:gd name="connsiteY337" fmla="*/ 0 h 896937"/>
                    <a:gd name="connsiteX338" fmla="*/ 869950 w 869950"/>
                    <a:gd name="connsiteY338" fmla="*/ 14730 h 896937"/>
                    <a:gd name="connsiteX339" fmla="*/ 853926 w 869950"/>
                    <a:gd name="connsiteY339" fmla="*/ 30162 h 896937"/>
                    <a:gd name="connsiteX340" fmla="*/ 808038 w 869950"/>
                    <a:gd name="connsiteY340" fmla="*/ 30162 h 896937"/>
                    <a:gd name="connsiteX341" fmla="*/ 808038 w 869950"/>
                    <a:gd name="connsiteY341" fmla="*/ 0 h 89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869950" h="896937">
                      <a:moveTo>
                        <a:pt x="15044" y="866775"/>
                      </a:moveTo>
                      <a:cubicBezTo>
                        <a:pt x="42266" y="866775"/>
                        <a:pt x="67339" y="866775"/>
                        <a:pt x="90979" y="866775"/>
                      </a:cubicBezTo>
                      <a:cubicBezTo>
                        <a:pt x="95994" y="866775"/>
                        <a:pt x="101009" y="866775"/>
                        <a:pt x="106740" y="866775"/>
                      </a:cubicBezTo>
                      <a:cubicBezTo>
                        <a:pt x="111754" y="866775"/>
                        <a:pt x="116769" y="866775"/>
                        <a:pt x="122500" y="866775"/>
                      </a:cubicBezTo>
                      <a:cubicBezTo>
                        <a:pt x="126798" y="866775"/>
                        <a:pt x="131096" y="866775"/>
                        <a:pt x="136111" y="866775"/>
                      </a:cubicBezTo>
                      <a:cubicBezTo>
                        <a:pt x="440568" y="866775"/>
                        <a:pt x="440568" y="866775"/>
                        <a:pt x="440568" y="866775"/>
                      </a:cubicBezTo>
                      <a:cubicBezTo>
                        <a:pt x="447016" y="866775"/>
                        <a:pt x="452030" y="870282"/>
                        <a:pt x="454179" y="875894"/>
                      </a:cubicBezTo>
                      <a:cubicBezTo>
                        <a:pt x="455612" y="877297"/>
                        <a:pt x="455612" y="879401"/>
                        <a:pt x="455612" y="882207"/>
                      </a:cubicBezTo>
                      <a:cubicBezTo>
                        <a:pt x="455612" y="882908"/>
                        <a:pt x="455612" y="882908"/>
                        <a:pt x="455612" y="883610"/>
                      </a:cubicBezTo>
                      <a:cubicBezTo>
                        <a:pt x="455612" y="885013"/>
                        <a:pt x="455612" y="885714"/>
                        <a:pt x="454896" y="887117"/>
                      </a:cubicBezTo>
                      <a:cubicBezTo>
                        <a:pt x="453463" y="891326"/>
                        <a:pt x="450598" y="894833"/>
                        <a:pt x="445583" y="896236"/>
                      </a:cubicBezTo>
                      <a:cubicBezTo>
                        <a:pt x="445583" y="896236"/>
                        <a:pt x="444867" y="896937"/>
                        <a:pt x="444150" y="896937"/>
                      </a:cubicBezTo>
                      <a:cubicBezTo>
                        <a:pt x="444150" y="896937"/>
                        <a:pt x="443434" y="896937"/>
                        <a:pt x="443434" y="896937"/>
                      </a:cubicBezTo>
                      <a:cubicBezTo>
                        <a:pt x="442718" y="896937"/>
                        <a:pt x="441285" y="896937"/>
                        <a:pt x="440568" y="896937"/>
                      </a:cubicBezTo>
                      <a:cubicBezTo>
                        <a:pt x="270072" y="896937"/>
                        <a:pt x="167631" y="896937"/>
                        <a:pt x="106740" y="896937"/>
                      </a:cubicBezTo>
                      <a:cubicBezTo>
                        <a:pt x="101009" y="896937"/>
                        <a:pt x="95278" y="896937"/>
                        <a:pt x="90979" y="896937"/>
                      </a:cubicBezTo>
                      <a:cubicBezTo>
                        <a:pt x="15044" y="896937"/>
                        <a:pt x="15044" y="896937"/>
                        <a:pt x="15044" y="896937"/>
                      </a:cubicBezTo>
                      <a:cubicBezTo>
                        <a:pt x="15044" y="896937"/>
                        <a:pt x="15044" y="896937"/>
                        <a:pt x="14328" y="896937"/>
                      </a:cubicBezTo>
                      <a:cubicBezTo>
                        <a:pt x="6448" y="896937"/>
                        <a:pt x="0" y="890624"/>
                        <a:pt x="0" y="882207"/>
                      </a:cubicBezTo>
                      <a:cubicBezTo>
                        <a:pt x="0" y="873790"/>
                        <a:pt x="6448" y="866775"/>
                        <a:pt x="15044" y="866775"/>
                      </a:cubicBezTo>
                      <a:close/>
                      <a:moveTo>
                        <a:pt x="15044" y="763587"/>
                      </a:moveTo>
                      <a:cubicBezTo>
                        <a:pt x="42266" y="763587"/>
                        <a:pt x="67339" y="763587"/>
                        <a:pt x="90979" y="763587"/>
                      </a:cubicBezTo>
                      <a:cubicBezTo>
                        <a:pt x="95994" y="763587"/>
                        <a:pt x="101009" y="763587"/>
                        <a:pt x="106740" y="763587"/>
                      </a:cubicBezTo>
                      <a:cubicBezTo>
                        <a:pt x="111754" y="763587"/>
                        <a:pt x="116769" y="763587"/>
                        <a:pt x="122500" y="763587"/>
                      </a:cubicBezTo>
                      <a:cubicBezTo>
                        <a:pt x="126798" y="763587"/>
                        <a:pt x="131096" y="763587"/>
                        <a:pt x="136111" y="763587"/>
                      </a:cubicBezTo>
                      <a:cubicBezTo>
                        <a:pt x="141125" y="763587"/>
                        <a:pt x="146140" y="763587"/>
                        <a:pt x="151871" y="763587"/>
                      </a:cubicBezTo>
                      <a:cubicBezTo>
                        <a:pt x="156886" y="763587"/>
                        <a:pt x="161900" y="763587"/>
                        <a:pt x="167631" y="763587"/>
                      </a:cubicBezTo>
                      <a:cubicBezTo>
                        <a:pt x="181958" y="763587"/>
                        <a:pt x="195570" y="763587"/>
                        <a:pt x="209181" y="763587"/>
                      </a:cubicBezTo>
                      <a:cubicBezTo>
                        <a:pt x="229955" y="763587"/>
                        <a:pt x="249297" y="763587"/>
                        <a:pt x="266490" y="763587"/>
                      </a:cubicBezTo>
                      <a:cubicBezTo>
                        <a:pt x="272221" y="763587"/>
                        <a:pt x="277236" y="763587"/>
                        <a:pt x="282250" y="763587"/>
                      </a:cubicBezTo>
                      <a:cubicBezTo>
                        <a:pt x="287981" y="763587"/>
                        <a:pt x="292996" y="763587"/>
                        <a:pt x="298011" y="763587"/>
                      </a:cubicBezTo>
                      <a:cubicBezTo>
                        <a:pt x="303742" y="763587"/>
                        <a:pt x="308756" y="763587"/>
                        <a:pt x="313771" y="763587"/>
                      </a:cubicBezTo>
                      <a:cubicBezTo>
                        <a:pt x="440568" y="763587"/>
                        <a:pt x="440568" y="763587"/>
                        <a:pt x="440568" y="763587"/>
                      </a:cubicBezTo>
                      <a:cubicBezTo>
                        <a:pt x="444867" y="763587"/>
                        <a:pt x="448449" y="765752"/>
                        <a:pt x="450598" y="767917"/>
                      </a:cubicBezTo>
                      <a:cubicBezTo>
                        <a:pt x="451314" y="767917"/>
                        <a:pt x="451314" y="768638"/>
                        <a:pt x="452030" y="769360"/>
                      </a:cubicBezTo>
                      <a:cubicBezTo>
                        <a:pt x="452747" y="770081"/>
                        <a:pt x="453463" y="771525"/>
                        <a:pt x="454179" y="772246"/>
                      </a:cubicBezTo>
                      <a:cubicBezTo>
                        <a:pt x="454896" y="774411"/>
                        <a:pt x="455612" y="775854"/>
                        <a:pt x="455612" y="778019"/>
                      </a:cubicBezTo>
                      <a:cubicBezTo>
                        <a:pt x="455612" y="778741"/>
                        <a:pt x="455612" y="778741"/>
                        <a:pt x="455612" y="779462"/>
                      </a:cubicBezTo>
                      <a:cubicBezTo>
                        <a:pt x="455612" y="780905"/>
                        <a:pt x="455612" y="781627"/>
                        <a:pt x="455612" y="782348"/>
                      </a:cubicBezTo>
                      <a:cubicBezTo>
                        <a:pt x="455612" y="783070"/>
                        <a:pt x="455612" y="783792"/>
                        <a:pt x="454896" y="783792"/>
                      </a:cubicBezTo>
                      <a:cubicBezTo>
                        <a:pt x="454896" y="784513"/>
                        <a:pt x="454896" y="784513"/>
                        <a:pt x="454896" y="784513"/>
                      </a:cubicBezTo>
                      <a:cubicBezTo>
                        <a:pt x="454179" y="788843"/>
                        <a:pt x="451314" y="791729"/>
                        <a:pt x="447732" y="793894"/>
                      </a:cubicBezTo>
                      <a:cubicBezTo>
                        <a:pt x="447016" y="793894"/>
                        <a:pt x="446299" y="794616"/>
                        <a:pt x="445583" y="794616"/>
                      </a:cubicBezTo>
                      <a:cubicBezTo>
                        <a:pt x="444867" y="794616"/>
                        <a:pt x="444867" y="794616"/>
                        <a:pt x="444867" y="794616"/>
                      </a:cubicBezTo>
                      <a:cubicBezTo>
                        <a:pt x="444150" y="794616"/>
                        <a:pt x="443434" y="794616"/>
                        <a:pt x="443434" y="795337"/>
                      </a:cubicBezTo>
                      <a:cubicBezTo>
                        <a:pt x="442001" y="795337"/>
                        <a:pt x="441285" y="795337"/>
                        <a:pt x="440568" y="795337"/>
                      </a:cubicBezTo>
                      <a:cubicBezTo>
                        <a:pt x="381826" y="795337"/>
                        <a:pt x="330964" y="795337"/>
                        <a:pt x="287981" y="795337"/>
                      </a:cubicBezTo>
                      <a:cubicBezTo>
                        <a:pt x="281534" y="795337"/>
                        <a:pt x="275803" y="795337"/>
                        <a:pt x="270072" y="795337"/>
                      </a:cubicBezTo>
                      <a:cubicBezTo>
                        <a:pt x="229955" y="795337"/>
                        <a:pt x="196286" y="795337"/>
                        <a:pt x="167631" y="795337"/>
                      </a:cubicBezTo>
                      <a:cubicBezTo>
                        <a:pt x="161900" y="795337"/>
                        <a:pt x="156886" y="795337"/>
                        <a:pt x="151871" y="795337"/>
                      </a:cubicBezTo>
                      <a:cubicBezTo>
                        <a:pt x="146140" y="795337"/>
                        <a:pt x="141125" y="795337"/>
                        <a:pt x="136111" y="795337"/>
                      </a:cubicBezTo>
                      <a:cubicBezTo>
                        <a:pt x="131096" y="795337"/>
                        <a:pt x="126798" y="795337"/>
                        <a:pt x="122500" y="795337"/>
                      </a:cubicBezTo>
                      <a:cubicBezTo>
                        <a:pt x="116769" y="795337"/>
                        <a:pt x="111038" y="795337"/>
                        <a:pt x="106740" y="795337"/>
                      </a:cubicBezTo>
                      <a:cubicBezTo>
                        <a:pt x="101009" y="795337"/>
                        <a:pt x="95278" y="795337"/>
                        <a:pt x="90979" y="795337"/>
                      </a:cubicBezTo>
                      <a:cubicBezTo>
                        <a:pt x="15044" y="795337"/>
                        <a:pt x="15044" y="795337"/>
                        <a:pt x="15044" y="795337"/>
                      </a:cubicBezTo>
                      <a:cubicBezTo>
                        <a:pt x="6448" y="795337"/>
                        <a:pt x="0" y="788843"/>
                        <a:pt x="0" y="779462"/>
                      </a:cubicBezTo>
                      <a:cubicBezTo>
                        <a:pt x="0" y="770803"/>
                        <a:pt x="6448" y="763587"/>
                        <a:pt x="15044" y="763587"/>
                      </a:cubicBezTo>
                      <a:close/>
                      <a:moveTo>
                        <a:pt x="601663" y="741362"/>
                      </a:moveTo>
                      <a:cubicBezTo>
                        <a:pt x="646907" y="741362"/>
                        <a:pt x="646907" y="741362"/>
                        <a:pt x="646907" y="741362"/>
                      </a:cubicBezTo>
                      <a:cubicBezTo>
                        <a:pt x="653370" y="741362"/>
                        <a:pt x="658397" y="744869"/>
                        <a:pt x="660552" y="750481"/>
                      </a:cubicBezTo>
                      <a:cubicBezTo>
                        <a:pt x="661270" y="751884"/>
                        <a:pt x="661988" y="753988"/>
                        <a:pt x="661988" y="756794"/>
                      </a:cubicBezTo>
                      <a:cubicBezTo>
                        <a:pt x="661988" y="758197"/>
                        <a:pt x="661988" y="760301"/>
                        <a:pt x="661270" y="761704"/>
                      </a:cubicBezTo>
                      <a:cubicBezTo>
                        <a:pt x="659116" y="767315"/>
                        <a:pt x="654089" y="771524"/>
                        <a:pt x="646907" y="771524"/>
                      </a:cubicBezTo>
                      <a:cubicBezTo>
                        <a:pt x="631108" y="771524"/>
                        <a:pt x="616026" y="771524"/>
                        <a:pt x="601663" y="771524"/>
                      </a:cubicBezTo>
                      <a:cubicBezTo>
                        <a:pt x="601663" y="771524"/>
                        <a:pt x="601663" y="771524"/>
                        <a:pt x="601663" y="761704"/>
                      </a:cubicBezTo>
                      <a:cubicBezTo>
                        <a:pt x="601663" y="761704"/>
                        <a:pt x="601663" y="761704"/>
                        <a:pt x="601663" y="750481"/>
                      </a:cubicBezTo>
                      <a:cubicBezTo>
                        <a:pt x="601663" y="750481"/>
                        <a:pt x="601663" y="750481"/>
                        <a:pt x="601663" y="741362"/>
                      </a:cubicBezTo>
                      <a:close/>
                      <a:moveTo>
                        <a:pt x="15044" y="661987"/>
                      </a:moveTo>
                      <a:cubicBezTo>
                        <a:pt x="42266" y="661987"/>
                        <a:pt x="67339" y="661987"/>
                        <a:pt x="90979" y="661987"/>
                      </a:cubicBezTo>
                      <a:cubicBezTo>
                        <a:pt x="95994" y="661987"/>
                        <a:pt x="101009" y="661987"/>
                        <a:pt x="106740" y="661987"/>
                      </a:cubicBezTo>
                      <a:cubicBezTo>
                        <a:pt x="111754" y="661987"/>
                        <a:pt x="116769" y="661987"/>
                        <a:pt x="122500" y="661987"/>
                      </a:cubicBezTo>
                      <a:cubicBezTo>
                        <a:pt x="126798" y="661987"/>
                        <a:pt x="131096" y="661987"/>
                        <a:pt x="136111" y="661987"/>
                      </a:cubicBezTo>
                      <a:cubicBezTo>
                        <a:pt x="141125" y="661987"/>
                        <a:pt x="146140" y="661987"/>
                        <a:pt x="151871" y="661987"/>
                      </a:cubicBezTo>
                      <a:cubicBezTo>
                        <a:pt x="156886" y="661987"/>
                        <a:pt x="161900" y="661987"/>
                        <a:pt x="167631" y="661987"/>
                      </a:cubicBezTo>
                      <a:cubicBezTo>
                        <a:pt x="181958" y="661987"/>
                        <a:pt x="195570" y="661987"/>
                        <a:pt x="209181" y="661987"/>
                      </a:cubicBezTo>
                      <a:cubicBezTo>
                        <a:pt x="229955" y="661987"/>
                        <a:pt x="249297" y="661987"/>
                        <a:pt x="266490" y="661987"/>
                      </a:cubicBezTo>
                      <a:cubicBezTo>
                        <a:pt x="272221" y="661987"/>
                        <a:pt x="277236" y="661987"/>
                        <a:pt x="282250" y="661987"/>
                      </a:cubicBezTo>
                      <a:cubicBezTo>
                        <a:pt x="287981" y="661987"/>
                        <a:pt x="292996" y="661987"/>
                        <a:pt x="298011" y="661987"/>
                      </a:cubicBezTo>
                      <a:cubicBezTo>
                        <a:pt x="303742" y="661987"/>
                        <a:pt x="308756" y="661987"/>
                        <a:pt x="313771" y="661987"/>
                      </a:cubicBezTo>
                      <a:cubicBezTo>
                        <a:pt x="319502" y="661987"/>
                        <a:pt x="324516" y="661987"/>
                        <a:pt x="329531" y="661987"/>
                      </a:cubicBezTo>
                      <a:cubicBezTo>
                        <a:pt x="334546" y="661987"/>
                        <a:pt x="338844" y="661987"/>
                        <a:pt x="343142" y="661987"/>
                      </a:cubicBezTo>
                      <a:cubicBezTo>
                        <a:pt x="348873" y="661987"/>
                        <a:pt x="354604" y="661987"/>
                        <a:pt x="358902" y="661987"/>
                      </a:cubicBezTo>
                      <a:cubicBezTo>
                        <a:pt x="364633" y="661987"/>
                        <a:pt x="370364" y="661987"/>
                        <a:pt x="374662" y="661987"/>
                      </a:cubicBezTo>
                      <a:cubicBezTo>
                        <a:pt x="440568" y="661987"/>
                        <a:pt x="440568" y="661987"/>
                        <a:pt x="440568" y="661987"/>
                      </a:cubicBezTo>
                      <a:cubicBezTo>
                        <a:pt x="447016" y="661987"/>
                        <a:pt x="452030" y="665494"/>
                        <a:pt x="454179" y="670404"/>
                      </a:cubicBezTo>
                      <a:cubicBezTo>
                        <a:pt x="455612" y="672509"/>
                        <a:pt x="455612" y="674613"/>
                        <a:pt x="455612" y="677419"/>
                      </a:cubicBezTo>
                      <a:cubicBezTo>
                        <a:pt x="455612" y="685836"/>
                        <a:pt x="449881" y="692149"/>
                        <a:pt x="440568" y="692149"/>
                      </a:cubicBezTo>
                      <a:cubicBezTo>
                        <a:pt x="417645" y="692149"/>
                        <a:pt x="395437" y="692149"/>
                        <a:pt x="374662" y="692149"/>
                      </a:cubicBezTo>
                      <a:cubicBezTo>
                        <a:pt x="369648" y="692149"/>
                        <a:pt x="364633" y="692149"/>
                        <a:pt x="358902" y="692149"/>
                      </a:cubicBezTo>
                      <a:cubicBezTo>
                        <a:pt x="353888" y="692149"/>
                        <a:pt x="348873" y="692149"/>
                        <a:pt x="343142" y="692149"/>
                      </a:cubicBezTo>
                      <a:cubicBezTo>
                        <a:pt x="338844" y="692149"/>
                        <a:pt x="334546" y="692149"/>
                        <a:pt x="329531" y="692149"/>
                      </a:cubicBezTo>
                      <a:cubicBezTo>
                        <a:pt x="324516" y="692149"/>
                        <a:pt x="319502" y="692149"/>
                        <a:pt x="313771" y="692149"/>
                      </a:cubicBezTo>
                      <a:cubicBezTo>
                        <a:pt x="308756" y="692149"/>
                        <a:pt x="303742" y="692149"/>
                        <a:pt x="298011" y="692149"/>
                      </a:cubicBezTo>
                      <a:cubicBezTo>
                        <a:pt x="292996" y="692149"/>
                        <a:pt x="287981" y="692149"/>
                        <a:pt x="282250" y="692149"/>
                      </a:cubicBezTo>
                      <a:cubicBezTo>
                        <a:pt x="277236" y="692149"/>
                        <a:pt x="272221" y="692149"/>
                        <a:pt x="266490" y="692149"/>
                      </a:cubicBezTo>
                      <a:cubicBezTo>
                        <a:pt x="227806" y="692149"/>
                        <a:pt x="194853" y="692149"/>
                        <a:pt x="167631" y="692149"/>
                      </a:cubicBezTo>
                      <a:cubicBezTo>
                        <a:pt x="161900" y="692149"/>
                        <a:pt x="156886" y="692149"/>
                        <a:pt x="151871" y="692149"/>
                      </a:cubicBezTo>
                      <a:cubicBezTo>
                        <a:pt x="146140" y="692149"/>
                        <a:pt x="141125" y="692149"/>
                        <a:pt x="136111" y="692149"/>
                      </a:cubicBezTo>
                      <a:cubicBezTo>
                        <a:pt x="131096" y="692149"/>
                        <a:pt x="126798" y="692149"/>
                        <a:pt x="122500" y="692149"/>
                      </a:cubicBezTo>
                      <a:cubicBezTo>
                        <a:pt x="116769" y="692149"/>
                        <a:pt x="111038" y="692149"/>
                        <a:pt x="106740" y="692149"/>
                      </a:cubicBezTo>
                      <a:cubicBezTo>
                        <a:pt x="101009" y="692149"/>
                        <a:pt x="95278" y="692149"/>
                        <a:pt x="90979" y="692149"/>
                      </a:cubicBezTo>
                      <a:cubicBezTo>
                        <a:pt x="15044" y="692149"/>
                        <a:pt x="15044" y="692149"/>
                        <a:pt x="15044" y="692149"/>
                      </a:cubicBezTo>
                      <a:cubicBezTo>
                        <a:pt x="6448" y="692149"/>
                        <a:pt x="0" y="685836"/>
                        <a:pt x="0" y="677419"/>
                      </a:cubicBezTo>
                      <a:cubicBezTo>
                        <a:pt x="0" y="669002"/>
                        <a:pt x="6448" y="661987"/>
                        <a:pt x="15044" y="661987"/>
                      </a:cubicBezTo>
                      <a:close/>
                      <a:moveTo>
                        <a:pt x="601663" y="638175"/>
                      </a:moveTo>
                      <a:cubicBezTo>
                        <a:pt x="646907" y="638175"/>
                        <a:pt x="646907" y="638175"/>
                        <a:pt x="646907" y="638175"/>
                      </a:cubicBezTo>
                      <a:cubicBezTo>
                        <a:pt x="653370" y="638175"/>
                        <a:pt x="658397" y="641783"/>
                        <a:pt x="660552" y="646834"/>
                      </a:cubicBezTo>
                      <a:cubicBezTo>
                        <a:pt x="661270" y="648999"/>
                        <a:pt x="661988" y="651885"/>
                        <a:pt x="661988" y="654050"/>
                      </a:cubicBezTo>
                      <a:cubicBezTo>
                        <a:pt x="661988" y="663431"/>
                        <a:pt x="655525" y="669925"/>
                        <a:pt x="646907" y="669925"/>
                      </a:cubicBezTo>
                      <a:cubicBezTo>
                        <a:pt x="631108" y="669925"/>
                        <a:pt x="616026" y="669925"/>
                        <a:pt x="601663" y="669925"/>
                      </a:cubicBezTo>
                      <a:cubicBezTo>
                        <a:pt x="601663" y="669925"/>
                        <a:pt x="601663" y="669925"/>
                        <a:pt x="601663" y="646834"/>
                      </a:cubicBezTo>
                      <a:cubicBezTo>
                        <a:pt x="601663" y="646834"/>
                        <a:pt x="601663" y="646834"/>
                        <a:pt x="601663" y="638175"/>
                      </a:cubicBezTo>
                      <a:close/>
                      <a:moveTo>
                        <a:pt x="808038" y="615950"/>
                      </a:moveTo>
                      <a:cubicBezTo>
                        <a:pt x="853926" y="615950"/>
                        <a:pt x="853926" y="615950"/>
                        <a:pt x="853926" y="615950"/>
                      </a:cubicBezTo>
                      <a:cubicBezTo>
                        <a:pt x="863395" y="615950"/>
                        <a:pt x="869950" y="623334"/>
                        <a:pt x="869950" y="631456"/>
                      </a:cubicBezTo>
                      <a:cubicBezTo>
                        <a:pt x="869950" y="640316"/>
                        <a:pt x="863395" y="647700"/>
                        <a:pt x="853926" y="647700"/>
                      </a:cubicBezTo>
                      <a:cubicBezTo>
                        <a:pt x="838630" y="647700"/>
                        <a:pt x="823334" y="647700"/>
                        <a:pt x="808038" y="647700"/>
                      </a:cubicBezTo>
                      <a:cubicBezTo>
                        <a:pt x="808038" y="647700"/>
                        <a:pt x="808038" y="647700"/>
                        <a:pt x="808038" y="615950"/>
                      </a:cubicBezTo>
                      <a:close/>
                      <a:moveTo>
                        <a:pt x="15044" y="558800"/>
                      </a:moveTo>
                      <a:cubicBezTo>
                        <a:pt x="42266" y="558800"/>
                        <a:pt x="67339" y="558800"/>
                        <a:pt x="90979" y="558800"/>
                      </a:cubicBezTo>
                      <a:cubicBezTo>
                        <a:pt x="95994" y="558800"/>
                        <a:pt x="101009" y="558800"/>
                        <a:pt x="106740" y="558800"/>
                      </a:cubicBezTo>
                      <a:cubicBezTo>
                        <a:pt x="111754" y="558800"/>
                        <a:pt x="116769" y="558800"/>
                        <a:pt x="122500" y="558800"/>
                      </a:cubicBezTo>
                      <a:cubicBezTo>
                        <a:pt x="126798" y="558800"/>
                        <a:pt x="131096" y="558800"/>
                        <a:pt x="136111" y="558800"/>
                      </a:cubicBezTo>
                      <a:cubicBezTo>
                        <a:pt x="141125" y="558800"/>
                        <a:pt x="146140" y="558800"/>
                        <a:pt x="151871" y="558800"/>
                      </a:cubicBezTo>
                      <a:cubicBezTo>
                        <a:pt x="156886" y="558800"/>
                        <a:pt x="161900" y="558800"/>
                        <a:pt x="167631" y="558800"/>
                      </a:cubicBezTo>
                      <a:cubicBezTo>
                        <a:pt x="181958" y="558800"/>
                        <a:pt x="195570" y="558800"/>
                        <a:pt x="209181" y="558800"/>
                      </a:cubicBezTo>
                      <a:cubicBezTo>
                        <a:pt x="229955" y="558800"/>
                        <a:pt x="249297" y="558800"/>
                        <a:pt x="266490" y="558800"/>
                      </a:cubicBezTo>
                      <a:cubicBezTo>
                        <a:pt x="272221" y="558800"/>
                        <a:pt x="277236" y="558800"/>
                        <a:pt x="282250" y="558800"/>
                      </a:cubicBezTo>
                      <a:cubicBezTo>
                        <a:pt x="287981" y="558800"/>
                        <a:pt x="292996" y="558800"/>
                        <a:pt x="298011" y="558800"/>
                      </a:cubicBezTo>
                      <a:cubicBezTo>
                        <a:pt x="303742" y="558800"/>
                        <a:pt x="308756" y="558800"/>
                        <a:pt x="313771" y="558800"/>
                      </a:cubicBezTo>
                      <a:cubicBezTo>
                        <a:pt x="319502" y="558800"/>
                        <a:pt x="324516" y="558800"/>
                        <a:pt x="329531" y="558800"/>
                      </a:cubicBezTo>
                      <a:cubicBezTo>
                        <a:pt x="334546" y="558800"/>
                        <a:pt x="338844" y="558800"/>
                        <a:pt x="343142" y="558800"/>
                      </a:cubicBezTo>
                      <a:cubicBezTo>
                        <a:pt x="348873" y="558800"/>
                        <a:pt x="354604" y="558800"/>
                        <a:pt x="358902" y="558800"/>
                      </a:cubicBezTo>
                      <a:cubicBezTo>
                        <a:pt x="364633" y="558800"/>
                        <a:pt x="370364" y="558800"/>
                        <a:pt x="374662" y="558800"/>
                      </a:cubicBezTo>
                      <a:cubicBezTo>
                        <a:pt x="440568" y="558800"/>
                        <a:pt x="440568" y="558800"/>
                        <a:pt x="440568" y="558800"/>
                      </a:cubicBezTo>
                      <a:cubicBezTo>
                        <a:pt x="447016" y="558800"/>
                        <a:pt x="452030" y="562391"/>
                        <a:pt x="454179" y="567418"/>
                      </a:cubicBezTo>
                      <a:cubicBezTo>
                        <a:pt x="455612" y="569572"/>
                        <a:pt x="455612" y="571727"/>
                        <a:pt x="455612" y="573881"/>
                      </a:cubicBezTo>
                      <a:cubicBezTo>
                        <a:pt x="455612" y="581781"/>
                        <a:pt x="449881" y="588962"/>
                        <a:pt x="440568" y="588962"/>
                      </a:cubicBezTo>
                      <a:cubicBezTo>
                        <a:pt x="417645" y="588962"/>
                        <a:pt x="395437" y="588962"/>
                        <a:pt x="374662" y="588962"/>
                      </a:cubicBezTo>
                      <a:cubicBezTo>
                        <a:pt x="369648" y="588962"/>
                        <a:pt x="364633" y="588962"/>
                        <a:pt x="358902" y="588962"/>
                      </a:cubicBezTo>
                      <a:cubicBezTo>
                        <a:pt x="353888" y="588962"/>
                        <a:pt x="348873" y="588962"/>
                        <a:pt x="343142" y="588962"/>
                      </a:cubicBezTo>
                      <a:cubicBezTo>
                        <a:pt x="338844" y="588962"/>
                        <a:pt x="334546" y="588962"/>
                        <a:pt x="329531" y="588962"/>
                      </a:cubicBezTo>
                      <a:cubicBezTo>
                        <a:pt x="324516" y="588962"/>
                        <a:pt x="319502" y="588962"/>
                        <a:pt x="313771" y="588962"/>
                      </a:cubicBezTo>
                      <a:cubicBezTo>
                        <a:pt x="308756" y="588962"/>
                        <a:pt x="303742" y="588962"/>
                        <a:pt x="298011" y="588962"/>
                      </a:cubicBezTo>
                      <a:cubicBezTo>
                        <a:pt x="292996" y="588962"/>
                        <a:pt x="287981" y="588962"/>
                        <a:pt x="282250" y="588962"/>
                      </a:cubicBezTo>
                      <a:cubicBezTo>
                        <a:pt x="277236" y="588962"/>
                        <a:pt x="272221" y="588962"/>
                        <a:pt x="266490" y="588962"/>
                      </a:cubicBezTo>
                      <a:cubicBezTo>
                        <a:pt x="227806" y="588962"/>
                        <a:pt x="194853" y="588962"/>
                        <a:pt x="167631" y="588962"/>
                      </a:cubicBezTo>
                      <a:cubicBezTo>
                        <a:pt x="161900" y="588962"/>
                        <a:pt x="156886" y="588962"/>
                        <a:pt x="151871" y="588962"/>
                      </a:cubicBezTo>
                      <a:cubicBezTo>
                        <a:pt x="146140" y="588962"/>
                        <a:pt x="141125" y="588962"/>
                        <a:pt x="136111" y="588962"/>
                      </a:cubicBezTo>
                      <a:cubicBezTo>
                        <a:pt x="131096" y="588962"/>
                        <a:pt x="126798" y="588962"/>
                        <a:pt x="122500" y="588962"/>
                      </a:cubicBezTo>
                      <a:cubicBezTo>
                        <a:pt x="116769" y="588962"/>
                        <a:pt x="111038" y="588962"/>
                        <a:pt x="106740" y="588962"/>
                      </a:cubicBezTo>
                      <a:cubicBezTo>
                        <a:pt x="101009" y="588962"/>
                        <a:pt x="95278" y="588962"/>
                        <a:pt x="90979" y="588962"/>
                      </a:cubicBezTo>
                      <a:cubicBezTo>
                        <a:pt x="15044" y="588962"/>
                        <a:pt x="15044" y="588962"/>
                        <a:pt x="15044" y="588962"/>
                      </a:cubicBezTo>
                      <a:cubicBezTo>
                        <a:pt x="6448" y="588962"/>
                        <a:pt x="0" y="581781"/>
                        <a:pt x="0" y="573881"/>
                      </a:cubicBezTo>
                      <a:cubicBezTo>
                        <a:pt x="0" y="565982"/>
                        <a:pt x="6448" y="558800"/>
                        <a:pt x="15044" y="558800"/>
                      </a:cubicBezTo>
                      <a:close/>
                      <a:moveTo>
                        <a:pt x="601663" y="536575"/>
                      </a:moveTo>
                      <a:cubicBezTo>
                        <a:pt x="646907" y="536575"/>
                        <a:pt x="646907" y="536575"/>
                        <a:pt x="646907" y="536575"/>
                      </a:cubicBezTo>
                      <a:cubicBezTo>
                        <a:pt x="653370" y="536575"/>
                        <a:pt x="658397" y="540082"/>
                        <a:pt x="660552" y="544992"/>
                      </a:cubicBezTo>
                      <a:cubicBezTo>
                        <a:pt x="661270" y="547097"/>
                        <a:pt x="661988" y="549201"/>
                        <a:pt x="661988" y="552007"/>
                      </a:cubicBezTo>
                      <a:cubicBezTo>
                        <a:pt x="661988" y="559723"/>
                        <a:pt x="655525" y="566737"/>
                        <a:pt x="646907" y="566737"/>
                      </a:cubicBezTo>
                      <a:cubicBezTo>
                        <a:pt x="631108" y="566737"/>
                        <a:pt x="616026" y="566737"/>
                        <a:pt x="601663" y="566737"/>
                      </a:cubicBezTo>
                      <a:cubicBezTo>
                        <a:pt x="601663" y="566737"/>
                        <a:pt x="601663" y="566737"/>
                        <a:pt x="601663" y="544992"/>
                      </a:cubicBezTo>
                      <a:cubicBezTo>
                        <a:pt x="601663" y="544992"/>
                        <a:pt x="601663" y="544992"/>
                        <a:pt x="601663" y="536575"/>
                      </a:cubicBezTo>
                      <a:close/>
                      <a:moveTo>
                        <a:pt x="808038" y="512762"/>
                      </a:moveTo>
                      <a:cubicBezTo>
                        <a:pt x="853926" y="512762"/>
                        <a:pt x="853926" y="512762"/>
                        <a:pt x="853926" y="512762"/>
                      </a:cubicBezTo>
                      <a:cubicBezTo>
                        <a:pt x="863395" y="512762"/>
                        <a:pt x="869950" y="519978"/>
                        <a:pt x="869950" y="528637"/>
                      </a:cubicBezTo>
                      <a:cubicBezTo>
                        <a:pt x="869950" y="538018"/>
                        <a:pt x="863395" y="544512"/>
                        <a:pt x="853926" y="544512"/>
                      </a:cubicBezTo>
                      <a:cubicBezTo>
                        <a:pt x="838630" y="544512"/>
                        <a:pt x="823334" y="544512"/>
                        <a:pt x="808038" y="544512"/>
                      </a:cubicBezTo>
                      <a:cubicBezTo>
                        <a:pt x="808038" y="544512"/>
                        <a:pt x="808038" y="544512"/>
                        <a:pt x="808038" y="512762"/>
                      </a:cubicBezTo>
                      <a:close/>
                      <a:moveTo>
                        <a:pt x="15044" y="455612"/>
                      </a:moveTo>
                      <a:cubicBezTo>
                        <a:pt x="42266" y="455612"/>
                        <a:pt x="67339" y="455612"/>
                        <a:pt x="90979" y="455612"/>
                      </a:cubicBezTo>
                      <a:cubicBezTo>
                        <a:pt x="95994" y="455612"/>
                        <a:pt x="101009" y="455612"/>
                        <a:pt x="106740" y="455612"/>
                      </a:cubicBezTo>
                      <a:cubicBezTo>
                        <a:pt x="111754" y="455612"/>
                        <a:pt x="116769" y="455612"/>
                        <a:pt x="122500" y="455612"/>
                      </a:cubicBezTo>
                      <a:cubicBezTo>
                        <a:pt x="126798" y="455612"/>
                        <a:pt x="131096" y="455612"/>
                        <a:pt x="136111" y="455612"/>
                      </a:cubicBezTo>
                      <a:cubicBezTo>
                        <a:pt x="141125" y="455612"/>
                        <a:pt x="146140" y="455612"/>
                        <a:pt x="151871" y="455612"/>
                      </a:cubicBezTo>
                      <a:cubicBezTo>
                        <a:pt x="156886" y="455612"/>
                        <a:pt x="161900" y="455612"/>
                        <a:pt x="167631" y="455612"/>
                      </a:cubicBezTo>
                      <a:cubicBezTo>
                        <a:pt x="181958" y="455612"/>
                        <a:pt x="195570" y="455612"/>
                        <a:pt x="208464" y="455612"/>
                      </a:cubicBezTo>
                      <a:cubicBezTo>
                        <a:pt x="229955" y="455612"/>
                        <a:pt x="249297" y="455612"/>
                        <a:pt x="266490" y="455612"/>
                      </a:cubicBezTo>
                      <a:cubicBezTo>
                        <a:pt x="272221" y="455612"/>
                        <a:pt x="277236" y="455612"/>
                        <a:pt x="282250" y="455612"/>
                      </a:cubicBezTo>
                      <a:cubicBezTo>
                        <a:pt x="287981" y="455612"/>
                        <a:pt x="292996" y="455612"/>
                        <a:pt x="298011" y="455612"/>
                      </a:cubicBezTo>
                      <a:cubicBezTo>
                        <a:pt x="303742" y="455612"/>
                        <a:pt x="308756" y="455612"/>
                        <a:pt x="313771" y="455612"/>
                      </a:cubicBezTo>
                      <a:cubicBezTo>
                        <a:pt x="319502" y="455612"/>
                        <a:pt x="324516" y="455612"/>
                        <a:pt x="329531" y="455612"/>
                      </a:cubicBezTo>
                      <a:cubicBezTo>
                        <a:pt x="334546" y="455612"/>
                        <a:pt x="338844" y="455612"/>
                        <a:pt x="343142" y="455612"/>
                      </a:cubicBezTo>
                      <a:cubicBezTo>
                        <a:pt x="348873" y="455612"/>
                        <a:pt x="354604" y="455612"/>
                        <a:pt x="358902" y="455612"/>
                      </a:cubicBezTo>
                      <a:cubicBezTo>
                        <a:pt x="364633" y="455612"/>
                        <a:pt x="370364" y="455612"/>
                        <a:pt x="374662" y="455612"/>
                      </a:cubicBezTo>
                      <a:cubicBezTo>
                        <a:pt x="440568" y="455612"/>
                        <a:pt x="440568" y="455612"/>
                        <a:pt x="440568" y="455612"/>
                      </a:cubicBezTo>
                      <a:cubicBezTo>
                        <a:pt x="447016" y="455612"/>
                        <a:pt x="452030" y="459119"/>
                        <a:pt x="454179" y="464029"/>
                      </a:cubicBezTo>
                      <a:cubicBezTo>
                        <a:pt x="455612" y="466134"/>
                        <a:pt x="455612" y="468238"/>
                        <a:pt x="455612" y="471044"/>
                      </a:cubicBezTo>
                      <a:cubicBezTo>
                        <a:pt x="455612" y="478760"/>
                        <a:pt x="449881" y="485774"/>
                        <a:pt x="440568" y="485774"/>
                      </a:cubicBezTo>
                      <a:cubicBezTo>
                        <a:pt x="417645" y="485774"/>
                        <a:pt x="395437" y="485774"/>
                        <a:pt x="374662" y="485774"/>
                      </a:cubicBezTo>
                      <a:cubicBezTo>
                        <a:pt x="369648" y="485774"/>
                        <a:pt x="364633" y="485774"/>
                        <a:pt x="358902" y="485774"/>
                      </a:cubicBezTo>
                      <a:cubicBezTo>
                        <a:pt x="353888" y="485774"/>
                        <a:pt x="348873" y="485774"/>
                        <a:pt x="343142" y="485774"/>
                      </a:cubicBezTo>
                      <a:cubicBezTo>
                        <a:pt x="338844" y="485774"/>
                        <a:pt x="334546" y="485774"/>
                        <a:pt x="329531" y="485774"/>
                      </a:cubicBezTo>
                      <a:cubicBezTo>
                        <a:pt x="324516" y="485774"/>
                        <a:pt x="319502" y="485774"/>
                        <a:pt x="313771" y="485774"/>
                      </a:cubicBezTo>
                      <a:cubicBezTo>
                        <a:pt x="308756" y="485774"/>
                        <a:pt x="303742" y="485774"/>
                        <a:pt x="298011" y="485774"/>
                      </a:cubicBezTo>
                      <a:cubicBezTo>
                        <a:pt x="292996" y="485774"/>
                        <a:pt x="287981" y="485774"/>
                        <a:pt x="282250" y="485774"/>
                      </a:cubicBezTo>
                      <a:cubicBezTo>
                        <a:pt x="277236" y="485774"/>
                        <a:pt x="272221" y="485774"/>
                        <a:pt x="266490" y="485774"/>
                      </a:cubicBezTo>
                      <a:cubicBezTo>
                        <a:pt x="227806" y="485774"/>
                        <a:pt x="194853" y="485774"/>
                        <a:pt x="167631" y="485774"/>
                      </a:cubicBezTo>
                      <a:cubicBezTo>
                        <a:pt x="161900" y="485774"/>
                        <a:pt x="156886" y="485774"/>
                        <a:pt x="151871" y="485774"/>
                      </a:cubicBezTo>
                      <a:cubicBezTo>
                        <a:pt x="146140" y="485774"/>
                        <a:pt x="141125" y="485774"/>
                        <a:pt x="136111" y="485774"/>
                      </a:cubicBezTo>
                      <a:cubicBezTo>
                        <a:pt x="131096" y="485774"/>
                        <a:pt x="126798" y="485774"/>
                        <a:pt x="122500" y="485774"/>
                      </a:cubicBezTo>
                      <a:cubicBezTo>
                        <a:pt x="116769" y="485774"/>
                        <a:pt x="111038" y="485774"/>
                        <a:pt x="106740" y="485774"/>
                      </a:cubicBezTo>
                      <a:cubicBezTo>
                        <a:pt x="101009" y="485774"/>
                        <a:pt x="95278" y="485774"/>
                        <a:pt x="90979" y="485774"/>
                      </a:cubicBezTo>
                      <a:cubicBezTo>
                        <a:pt x="15044" y="485774"/>
                        <a:pt x="15044" y="485774"/>
                        <a:pt x="15044" y="485774"/>
                      </a:cubicBezTo>
                      <a:cubicBezTo>
                        <a:pt x="6448" y="485774"/>
                        <a:pt x="0" y="478760"/>
                        <a:pt x="0" y="471044"/>
                      </a:cubicBezTo>
                      <a:cubicBezTo>
                        <a:pt x="0" y="462627"/>
                        <a:pt x="6448" y="455612"/>
                        <a:pt x="15044" y="455612"/>
                      </a:cubicBezTo>
                      <a:close/>
                      <a:moveTo>
                        <a:pt x="601663" y="433387"/>
                      </a:moveTo>
                      <a:cubicBezTo>
                        <a:pt x="646907" y="433387"/>
                        <a:pt x="646907" y="433387"/>
                        <a:pt x="646907" y="433387"/>
                      </a:cubicBezTo>
                      <a:cubicBezTo>
                        <a:pt x="653370" y="433387"/>
                        <a:pt x="658397" y="436978"/>
                        <a:pt x="660552" y="442005"/>
                      </a:cubicBezTo>
                      <a:cubicBezTo>
                        <a:pt x="661270" y="444159"/>
                        <a:pt x="661988" y="446314"/>
                        <a:pt x="661988" y="448468"/>
                      </a:cubicBezTo>
                      <a:cubicBezTo>
                        <a:pt x="661988" y="456368"/>
                        <a:pt x="655525" y="463549"/>
                        <a:pt x="646907" y="463549"/>
                      </a:cubicBezTo>
                      <a:cubicBezTo>
                        <a:pt x="631108" y="463549"/>
                        <a:pt x="616026" y="463549"/>
                        <a:pt x="601663" y="463549"/>
                      </a:cubicBezTo>
                      <a:cubicBezTo>
                        <a:pt x="601663" y="463549"/>
                        <a:pt x="601663" y="463549"/>
                        <a:pt x="601663" y="442005"/>
                      </a:cubicBezTo>
                      <a:cubicBezTo>
                        <a:pt x="601663" y="442005"/>
                        <a:pt x="601663" y="442005"/>
                        <a:pt x="601663" y="433387"/>
                      </a:cubicBezTo>
                      <a:close/>
                      <a:moveTo>
                        <a:pt x="808038" y="411162"/>
                      </a:moveTo>
                      <a:cubicBezTo>
                        <a:pt x="853926" y="411162"/>
                        <a:pt x="853926" y="411162"/>
                        <a:pt x="853926" y="411162"/>
                      </a:cubicBezTo>
                      <a:cubicBezTo>
                        <a:pt x="863395" y="411162"/>
                        <a:pt x="869950" y="418177"/>
                        <a:pt x="869950" y="425892"/>
                      </a:cubicBezTo>
                      <a:cubicBezTo>
                        <a:pt x="869950" y="434310"/>
                        <a:pt x="863395" y="441324"/>
                        <a:pt x="853926" y="441324"/>
                      </a:cubicBezTo>
                      <a:cubicBezTo>
                        <a:pt x="838630" y="441324"/>
                        <a:pt x="823334" y="441324"/>
                        <a:pt x="808038" y="441324"/>
                      </a:cubicBezTo>
                      <a:cubicBezTo>
                        <a:pt x="808038" y="441324"/>
                        <a:pt x="808038" y="441324"/>
                        <a:pt x="808038" y="411162"/>
                      </a:cubicBezTo>
                      <a:close/>
                      <a:moveTo>
                        <a:pt x="15044" y="352425"/>
                      </a:moveTo>
                      <a:cubicBezTo>
                        <a:pt x="42266" y="352425"/>
                        <a:pt x="67339" y="352425"/>
                        <a:pt x="90979" y="352425"/>
                      </a:cubicBezTo>
                      <a:cubicBezTo>
                        <a:pt x="95994" y="352425"/>
                        <a:pt x="101009" y="352425"/>
                        <a:pt x="106740" y="352425"/>
                      </a:cubicBezTo>
                      <a:cubicBezTo>
                        <a:pt x="111754" y="352425"/>
                        <a:pt x="116769" y="352425"/>
                        <a:pt x="122500" y="352425"/>
                      </a:cubicBezTo>
                      <a:cubicBezTo>
                        <a:pt x="126798" y="352425"/>
                        <a:pt x="131096" y="352425"/>
                        <a:pt x="136111" y="352425"/>
                      </a:cubicBezTo>
                      <a:cubicBezTo>
                        <a:pt x="141125" y="352425"/>
                        <a:pt x="146140" y="352425"/>
                        <a:pt x="151871" y="352425"/>
                      </a:cubicBezTo>
                      <a:cubicBezTo>
                        <a:pt x="156886" y="352425"/>
                        <a:pt x="161900" y="352425"/>
                        <a:pt x="167631" y="352425"/>
                      </a:cubicBezTo>
                      <a:cubicBezTo>
                        <a:pt x="181958" y="352425"/>
                        <a:pt x="195570" y="352425"/>
                        <a:pt x="209181" y="352425"/>
                      </a:cubicBezTo>
                      <a:cubicBezTo>
                        <a:pt x="229955" y="352425"/>
                        <a:pt x="249297" y="352425"/>
                        <a:pt x="266490" y="352425"/>
                      </a:cubicBezTo>
                      <a:cubicBezTo>
                        <a:pt x="272221" y="352425"/>
                        <a:pt x="277236" y="352425"/>
                        <a:pt x="282250" y="352425"/>
                      </a:cubicBezTo>
                      <a:cubicBezTo>
                        <a:pt x="287981" y="352425"/>
                        <a:pt x="292996" y="352425"/>
                        <a:pt x="298011" y="352425"/>
                      </a:cubicBezTo>
                      <a:cubicBezTo>
                        <a:pt x="303742" y="352425"/>
                        <a:pt x="308756" y="352425"/>
                        <a:pt x="313771" y="352425"/>
                      </a:cubicBezTo>
                      <a:cubicBezTo>
                        <a:pt x="319502" y="352425"/>
                        <a:pt x="324516" y="352425"/>
                        <a:pt x="329531" y="352425"/>
                      </a:cubicBezTo>
                      <a:cubicBezTo>
                        <a:pt x="334546" y="352425"/>
                        <a:pt x="338844" y="352425"/>
                        <a:pt x="343142" y="352425"/>
                      </a:cubicBezTo>
                      <a:cubicBezTo>
                        <a:pt x="348873" y="352425"/>
                        <a:pt x="354604" y="352425"/>
                        <a:pt x="358902" y="352425"/>
                      </a:cubicBezTo>
                      <a:cubicBezTo>
                        <a:pt x="364633" y="352425"/>
                        <a:pt x="370364" y="352425"/>
                        <a:pt x="374662" y="352425"/>
                      </a:cubicBezTo>
                      <a:cubicBezTo>
                        <a:pt x="440568" y="352425"/>
                        <a:pt x="440568" y="352425"/>
                        <a:pt x="440568" y="352425"/>
                      </a:cubicBezTo>
                      <a:cubicBezTo>
                        <a:pt x="447016" y="352425"/>
                        <a:pt x="452030" y="356033"/>
                        <a:pt x="454179" y="361084"/>
                      </a:cubicBezTo>
                      <a:cubicBezTo>
                        <a:pt x="455612" y="363249"/>
                        <a:pt x="455612" y="366135"/>
                        <a:pt x="455612" y="368300"/>
                      </a:cubicBezTo>
                      <a:cubicBezTo>
                        <a:pt x="455612" y="376959"/>
                        <a:pt x="449881" y="384175"/>
                        <a:pt x="440568" y="384175"/>
                      </a:cubicBezTo>
                      <a:cubicBezTo>
                        <a:pt x="417645" y="384175"/>
                        <a:pt x="395437" y="384175"/>
                        <a:pt x="374662" y="384175"/>
                      </a:cubicBezTo>
                      <a:cubicBezTo>
                        <a:pt x="369648" y="384175"/>
                        <a:pt x="364633" y="384175"/>
                        <a:pt x="358902" y="384175"/>
                      </a:cubicBezTo>
                      <a:cubicBezTo>
                        <a:pt x="353888" y="384175"/>
                        <a:pt x="348873" y="384175"/>
                        <a:pt x="343142" y="384175"/>
                      </a:cubicBezTo>
                      <a:cubicBezTo>
                        <a:pt x="338844" y="384175"/>
                        <a:pt x="334546" y="384175"/>
                        <a:pt x="329531" y="384175"/>
                      </a:cubicBezTo>
                      <a:cubicBezTo>
                        <a:pt x="324516" y="384175"/>
                        <a:pt x="319502" y="384175"/>
                        <a:pt x="313771" y="384175"/>
                      </a:cubicBezTo>
                      <a:cubicBezTo>
                        <a:pt x="308756" y="384175"/>
                        <a:pt x="303742" y="384175"/>
                        <a:pt x="298011" y="384175"/>
                      </a:cubicBezTo>
                      <a:cubicBezTo>
                        <a:pt x="292996" y="384175"/>
                        <a:pt x="287981" y="384175"/>
                        <a:pt x="282250" y="384175"/>
                      </a:cubicBezTo>
                      <a:cubicBezTo>
                        <a:pt x="277236" y="384175"/>
                        <a:pt x="272221" y="384175"/>
                        <a:pt x="266490" y="384175"/>
                      </a:cubicBezTo>
                      <a:cubicBezTo>
                        <a:pt x="227806" y="384175"/>
                        <a:pt x="194853" y="384175"/>
                        <a:pt x="167631" y="384175"/>
                      </a:cubicBezTo>
                      <a:cubicBezTo>
                        <a:pt x="161900" y="384175"/>
                        <a:pt x="156886" y="384175"/>
                        <a:pt x="151871" y="384175"/>
                      </a:cubicBezTo>
                      <a:cubicBezTo>
                        <a:pt x="146140" y="384175"/>
                        <a:pt x="141125" y="384175"/>
                        <a:pt x="136111" y="384175"/>
                      </a:cubicBezTo>
                      <a:cubicBezTo>
                        <a:pt x="131096" y="384175"/>
                        <a:pt x="126798" y="384175"/>
                        <a:pt x="122500" y="384175"/>
                      </a:cubicBezTo>
                      <a:cubicBezTo>
                        <a:pt x="116769" y="384175"/>
                        <a:pt x="111038" y="384175"/>
                        <a:pt x="106740" y="384175"/>
                      </a:cubicBezTo>
                      <a:cubicBezTo>
                        <a:pt x="101009" y="384175"/>
                        <a:pt x="95278" y="384175"/>
                        <a:pt x="90979" y="384175"/>
                      </a:cubicBezTo>
                      <a:cubicBezTo>
                        <a:pt x="15044" y="384175"/>
                        <a:pt x="15044" y="384175"/>
                        <a:pt x="15044" y="384175"/>
                      </a:cubicBezTo>
                      <a:cubicBezTo>
                        <a:pt x="6448" y="384175"/>
                        <a:pt x="0" y="376959"/>
                        <a:pt x="0" y="368300"/>
                      </a:cubicBezTo>
                      <a:cubicBezTo>
                        <a:pt x="0" y="359641"/>
                        <a:pt x="6448" y="352425"/>
                        <a:pt x="15044" y="352425"/>
                      </a:cubicBezTo>
                      <a:close/>
                      <a:moveTo>
                        <a:pt x="601663" y="330200"/>
                      </a:moveTo>
                      <a:cubicBezTo>
                        <a:pt x="646907" y="330200"/>
                        <a:pt x="646907" y="330200"/>
                        <a:pt x="646907" y="330200"/>
                      </a:cubicBezTo>
                      <a:cubicBezTo>
                        <a:pt x="653370" y="330200"/>
                        <a:pt x="658397" y="333707"/>
                        <a:pt x="660552" y="338617"/>
                      </a:cubicBezTo>
                      <a:cubicBezTo>
                        <a:pt x="661270" y="340722"/>
                        <a:pt x="661988" y="342826"/>
                        <a:pt x="661988" y="344930"/>
                      </a:cubicBezTo>
                      <a:cubicBezTo>
                        <a:pt x="661988" y="353348"/>
                        <a:pt x="655525" y="360362"/>
                        <a:pt x="646907" y="360362"/>
                      </a:cubicBezTo>
                      <a:cubicBezTo>
                        <a:pt x="631108" y="360362"/>
                        <a:pt x="616026" y="360362"/>
                        <a:pt x="601663" y="360362"/>
                      </a:cubicBezTo>
                      <a:cubicBezTo>
                        <a:pt x="601663" y="360362"/>
                        <a:pt x="601663" y="360362"/>
                        <a:pt x="601663" y="338617"/>
                      </a:cubicBezTo>
                      <a:cubicBezTo>
                        <a:pt x="601663" y="338617"/>
                        <a:pt x="601663" y="338617"/>
                        <a:pt x="601663" y="330200"/>
                      </a:cubicBezTo>
                      <a:close/>
                      <a:moveTo>
                        <a:pt x="808038" y="307975"/>
                      </a:moveTo>
                      <a:cubicBezTo>
                        <a:pt x="853926" y="307975"/>
                        <a:pt x="853926" y="307975"/>
                        <a:pt x="853926" y="307975"/>
                      </a:cubicBezTo>
                      <a:cubicBezTo>
                        <a:pt x="863395" y="307975"/>
                        <a:pt x="869950" y="315156"/>
                        <a:pt x="869950" y="323056"/>
                      </a:cubicBezTo>
                      <a:cubicBezTo>
                        <a:pt x="869950" y="330955"/>
                        <a:pt x="863395" y="338137"/>
                        <a:pt x="853926" y="338137"/>
                      </a:cubicBezTo>
                      <a:cubicBezTo>
                        <a:pt x="838630" y="338137"/>
                        <a:pt x="823334" y="338137"/>
                        <a:pt x="808038" y="338137"/>
                      </a:cubicBezTo>
                      <a:cubicBezTo>
                        <a:pt x="808038" y="338137"/>
                        <a:pt x="808038" y="338137"/>
                        <a:pt x="808038" y="307975"/>
                      </a:cubicBezTo>
                      <a:close/>
                      <a:moveTo>
                        <a:pt x="15044" y="249237"/>
                      </a:moveTo>
                      <a:cubicBezTo>
                        <a:pt x="42266" y="249237"/>
                        <a:pt x="67339" y="249237"/>
                        <a:pt x="90979" y="249237"/>
                      </a:cubicBezTo>
                      <a:cubicBezTo>
                        <a:pt x="95994" y="249237"/>
                        <a:pt x="101009" y="249237"/>
                        <a:pt x="106740" y="249237"/>
                      </a:cubicBezTo>
                      <a:cubicBezTo>
                        <a:pt x="111754" y="249237"/>
                        <a:pt x="116769" y="249237"/>
                        <a:pt x="122500" y="249237"/>
                      </a:cubicBezTo>
                      <a:cubicBezTo>
                        <a:pt x="126798" y="249237"/>
                        <a:pt x="131096" y="249237"/>
                        <a:pt x="136111" y="249237"/>
                      </a:cubicBezTo>
                      <a:cubicBezTo>
                        <a:pt x="141125" y="249237"/>
                        <a:pt x="146140" y="249237"/>
                        <a:pt x="151871" y="249237"/>
                      </a:cubicBezTo>
                      <a:cubicBezTo>
                        <a:pt x="156886" y="249237"/>
                        <a:pt x="161900" y="249237"/>
                        <a:pt x="167631" y="249237"/>
                      </a:cubicBezTo>
                      <a:cubicBezTo>
                        <a:pt x="181958" y="249237"/>
                        <a:pt x="195570" y="249237"/>
                        <a:pt x="209181" y="249237"/>
                      </a:cubicBezTo>
                      <a:cubicBezTo>
                        <a:pt x="229955" y="249237"/>
                        <a:pt x="249297" y="249237"/>
                        <a:pt x="266490" y="249237"/>
                      </a:cubicBezTo>
                      <a:cubicBezTo>
                        <a:pt x="272221" y="249237"/>
                        <a:pt x="277236" y="249237"/>
                        <a:pt x="282250" y="249237"/>
                      </a:cubicBezTo>
                      <a:cubicBezTo>
                        <a:pt x="287981" y="249237"/>
                        <a:pt x="292996" y="249237"/>
                        <a:pt x="298011" y="249237"/>
                      </a:cubicBezTo>
                      <a:cubicBezTo>
                        <a:pt x="303742" y="249237"/>
                        <a:pt x="308756" y="249237"/>
                        <a:pt x="313771" y="249237"/>
                      </a:cubicBezTo>
                      <a:cubicBezTo>
                        <a:pt x="319502" y="249237"/>
                        <a:pt x="324516" y="249237"/>
                        <a:pt x="329531" y="249237"/>
                      </a:cubicBezTo>
                      <a:cubicBezTo>
                        <a:pt x="334546" y="249237"/>
                        <a:pt x="338844" y="249237"/>
                        <a:pt x="343142" y="249237"/>
                      </a:cubicBezTo>
                      <a:cubicBezTo>
                        <a:pt x="348873" y="249237"/>
                        <a:pt x="354604" y="249237"/>
                        <a:pt x="358902" y="249237"/>
                      </a:cubicBezTo>
                      <a:cubicBezTo>
                        <a:pt x="364633" y="249237"/>
                        <a:pt x="370364" y="249237"/>
                        <a:pt x="374662" y="249237"/>
                      </a:cubicBezTo>
                      <a:cubicBezTo>
                        <a:pt x="440568" y="249237"/>
                        <a:pt x="440568" y="249237"/>
                        <a:pt x="440568" y="249237"/>
                      </a:cubicBezTo>
                      <a:cubicBezTo>
                        <a:pt x="447016" y="249237"/>
                        <a:pt x="452030" y="252190"/>
                        <a:pt x="454179" y="258097"/>
                      </a:cubicBezTo>
                      <a:cubicBezTo>
                        <a:pt x="455612" y="260312"/>
                        <a:pt x="455612" y="262528"/>
                        <a:pt x="455612" y="265481"/>
                      </a:cubicBezTo>
                      <a:cubicBezTo>
                        <a:pt x="455612" y="273603"/>
                        <a:pt x="449881" y="280987"/>
                        <a:pt x="440568" y="280987"/>
                      </a:cubicBezTo>
                      <a:cubicBezTo>
                        <a:pt x="417645" y="280987"/>
                        <a:pt x="395437" y="280987"/>
                        <a:pt x="374662" y="280987"/>
                      </a:cubicBezTo>
                      <a:cubicBezTo>
                        <a:pt x="369648" y="280987"/>
                        <a:pt x="364633" y="280987"/>
                        <a:pt x="358902" y="280987"/>
                      </a:cubicBezTo>
                      <a:cubicBezTo>
                        <a:pt x="353888" y="280987"/>
                        <a:pt x="348873" y="280987"/>
                        <a:pt x="343142" y="280987"/>
                      </a:cubicBezTo>
                      <a:cubicBezTo>
                        <a:pt x="338844" y="280987"/>
                        <a:pt x="334546" y="280987"/>
                        <a:pt x="329531" y="280987"/>
                      </a:cubicBezTo>
                      <a:cubicBezTo>
                        <a:pt x="324516" y="280987"/>
                        <a:pt x="319502" y="280987"/>
                        <a:pt x="313771" y="280987"/>
                      </a:cubicBezTo>
                      <a:cubicBezTo>
                        <a:pt x="308756" y="280987"/>
                        <a:pt x="303742" y="280987"/>
                        <a:pt x="298011" y="280987"/>
                      </a:cubicBezTo>
                      <a:cubicBezTo>
                        <a:pt x="292996" y="280987"/>
                        <a:pt x="287981" y="280987"/>
                        <a:pt x="282250" y="280987"/>
                      </a:cubicBezTo>
                      <a:cubicBezTo>
                        <a:pt x="277236" y="280987"/>
                        <a:pt x="272221" y="280987"/>
                        <a:pt x="266490" y="280987"/>
                      </a:cubicBezTo>
                      <a:cubicBezTo>
                        <a:pt x="227806" y="280987"/>
                        <a:pt x="194853" y="280987"/>
                        <a:pt x="167631" y="280987"/>
                      </a:cubicBezTo>
                      <a:cubicBezTo>
                        <a:pt x="161900" y="280987"/>
                        <a:pt x="156886" y="280987"/>
                        <a:pt x="151871" y="280987"/>
                      </a:cubicBezTo>
                      <a:cubicBezTo>
                        <a:pt x="146140" y="280987"/>
                        <a:pt x="141125" y="280987"/>
                        <a:pt x="136111" y="280987"/>
                      </a:cubicBezTo>
                      <a:cubicBezTo>
                        <a:pt x="131096" y="280987"/>
                        <a:pt x="126798" y="280987"/>
                        <a:pt x="122500" y="280987"/>
                      </a:cubicBezTo>
                      <a:cubicBezTo>
                        <a:pt x="116769" y="280987"/>
                        <a:pt x="111038" y="280987"/>
                        <a:pt x="106740" y="280987"/>
                      </a:cubicBezTo>
                      <a:cubicBezTo>
                        <a:pt x="101009" y="280987"/>
                        <a:pt x="95278" y="280987"/>
                        <a:pt x="90979" y="280987"/>
                      </a:cubicBezTo>
                      <a:cubicBezTo>
                        <a:pt x="15044" y="280987"/>
                        <a:pt x="15044" y="280987"/>
                        <a:pt x="15044" y="280987"/>
                      </a:cubicBezTo>
                      <a:cubicBezTo>
                        <a:pt x="6448" y="280987"/>
                        <a:pt x="0" y="273603"/>
                        <a:pt x="0" y="265481"/>
                      </a:cubicBezTo>
                      <a:cubicBezTo>
                        <a:pt x="0" y="255882"/>
                        <a:pt x="6448" y="249237"/>
                        <a:pt x="15044" y="249237"/>
                      </a:cubicBezTo>
                      <a:close/>
                      <a:moveTo>
                        <a:pt x="601663" y="227012"/>
                      </a:moveTo>
                      <a:cubicBezTo>
                        <a:pt x="646907" y="227012"/>
                        <a:pt x="646907" y="227012"/>
                        <a:pt x="646907" y="227012"/>
                      </a:cubicBezTo>
                      <a:cubicBezTo>
                        <a:pt x="653370" y="227012"/>
                        <a:pt x="658397" y="230620"/>
                        <a:pt x="660552" y="235671"/>
                      </a:cubicBezTo>
                      <a:cubicBezTo>
                        <a:pt x="661270" y="237836"/>
                        <a:pt x="661988" y="240001"/>
                        <a:pt x="661988" y="242887"/>
                      </a:cubicBezTo>
                      <a:cubicBezTo>
                        <a:pt x="661988" y="251546"/>
                        <a:pt x="655525" y="258762"/>
                        <a:pt x="646907" y="258762"/>
                      </a:cubicBezTo>
                      <a:cubicBezTo>
                        <a:pt x="631108" y="258762"/>
                        <a:pt x="616026" y="258762"/>
                        <a:pt x="601663" y="258762"/>
                      </a:cubicBezTo>
                      <a:cubicBezTo>
                        <a:pt x="601663" y="258762"/>
                        <a:pt x="601663" y="258762"/>
                        <a:pt x="601663" y="235671"/>
                      </a:cubicBezTo>
                      <a:cubicBezTo>
                        <a:pt x="601663" y="235671"/>
                        <a:pt x="601663" y="235671"/>
                        <a:pt x="601663" y="227012"/>
                      </a:cubicBezTo>
                      <a:close/>
                      <a:moveTo>
                        <a:pt x="808038" y="204787"/>
                      </a:moveTo>
                      <a:cubicBezTo>
                        <a:pt x="853926" y="204787"/>
                        <a:pt x="853926" y="204787"/>
                        <a:pt x="853926" y="204787"/>
                      </a:cubicBezTo>
                      <a:cubicBezTo>
                        <a:pt x="863395" y="204787"/>
                        <a:pt x="869950" y="211100"/>
                        <a:pt x="869950" y="219517"/>
                      </a:cubicBezTo>
                      <a:cubicBezTo>
                        <a:pt x="869950" y="227934"/>
                        <a:pt x="863395" y="234949"/>
                        <a:pt x="853926" y="234949"/>
                      </a:cubicBezTo>
                      <a:cubicBezTo>
                        <a:pt x="838630" y="234949"/>
                        <a:pt x="823334" y="234949"/>
                        <a:pt x="808038" y="234949"/>
                      </a:cubicBezTo>
                      <a:cubicBezTo>
                        <a:pt x="808038" y="234949"/>
                        <a:pt x="808038" y="234949"/>
                        <a:pt x="808038" y="204787"/>
                      </a:cubicBezTo>
                      <a:close/>
                      <a:moveTo>
                        <a:pt x="601663" y="125412"/>
                      </a:moveTo>
                      <a:cubicBezTo>
                        <a:pt x="646907" y="125412"/>
                        <a:pt x="646907" y="125412"/>
                        <a:pt x="646907" y="125412"/>
                      </a:cubicBezTo>
                      <a:cubicBezTo>
                        <a:pt x="653370" y="125412"/>
                        <a:pt x="658397" y="128218"/>
                        <a:pt x="660552" y="133829"/>
                      </a:cubicBezTo>
                      <a:cubicBezTo>
                        <a:pt x="661270" y="135934"/>
                        <a:pt x="661988" y="138038"/>
                        <a:pt x="661988" y="140142"/>
                      </a:cubicBezTo>
                      <a:cubicBezTo>
                        <a:pt x="661988" y="148559"/>
                        <a:pt x="655525" y="155574"/>
                        <a:pt x="646907" y="155574"/>
                      </a:cubicBezTo>
                      <a:cubicBezTo>
                        <a:pt x="631108" y="155574"/>
                        <a:pt x="616026" y="155574"/>
                        <a:pt x="601663" y="155574"/>
                      </a:cubicBezTo>
                      <a:cubicBezTo>
                        <a:pt x="601663" y="155574"/>
                        <a:pt x="601663" y="155574"/>
                        <a:pt x="601663" y="133829"/>
                      </a:cubicBezTo>
                      <a:cubicBezTo>
                        <a:pt x="601663" y="133829"/>
                        <a:pt x="601663" y="133829"/>
                        <a:pt x="601663" y="125412"/>
                      </a:cubicBezTo>
                      <a:close/>
                      <a:moveTo>
                        <a:pt x="808038" y="101600"/>
                      </a:moveTo>
                      <a:cubicBezTo>
                        <a:pt x="853926" y="101600"/>
                        <a:pt x="853926" y="101600"/>
                        <a:pt x="853926" y="101600"/>
                      </a:cubicBezTo>
                      <a:cubicBezTo>
                        <a:pt x="863395" y="101600"/>
                        <a:pt x="869950" y="108816"/>
                        <a:pt x="869950" y="117475"/>
                      </a:cubicBezTo>
                      <a:cubicBezTo>
                        <a:pt x="869950" y="126134"/>
                        <a:pt x="863395" y="133350"/>
                        <a:pt x="853926" y="133350"/>
                      </a:cubicBezTo>
                      <a:cubicBezTo>
                        <a:pt x="838630" y="133350"/>
                        <a:pt x="823334" y="133350"/>
                        <a:pt x="808038" y="133350"/>
                      </a:cubicBezTo>
                      <a:cubicBezTo>
                        <a:pt x="808038" y="133350"/>
                        <a:pt x="808038" y="133350"/>
                        <a:pt x="808038" y="101600"/>
                      </a:cubicBezTo>
                      <a:close/>
                      <a:moveTo>
                        <a:pt x="808038" y="0"/>
                      </a:moveTo>
                      <a:cubicBezTo>
                        <a:pt x="853926" y="0"/>
                        <a:pt x="853926" y="0"/>
                        <a:pt x="853926" y="0"/>
                      </a:cubicBezTo>
                      <a:cubicBezTo>
                        <a:pt x="863395" y="0"/>
                        <a:pt x="869950" y="6313"/>
                        <a:pt x="869950" y="14730"/>
                      </a:cubicBezTo>
                      <a:cubicBezTo>
                        <a:pt x="869950" y="23147"/>
                        <a:pt x="863395" y="30162"/>
                        <a:pt x="853926" y="30162"/>
                      </a:cubicBezTo>
                      <a:cubicBezTo>
                        <a:pt x="838630" y="30162"/>
                        <a:pt x="823334" y="30162"/>
                        <a:pt x="808038" y="30162"/>
                      </a:cubicBezTo>
                      <a:cubicBezTo>
                        <a:pt x="808038" y="30162"/>
                        <a:pt x="808038" y="30162"/>
                        <a:pt x="808038" y="0"/>
                      </a:cubicBezTo>
                      <a:close/>
                    </a:path>
                  </a:pathLst>
                </a:custGeom>
                <a:solidFill>
                  <a:srgbClr val="0A37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10" name="Group 9"/>
          <p:cNvGrpSpPr/>
          <p:nvPr/>
        </p:nvGrpSpPr>
        <p:grpSpPr>
          <a:xfrm>
            <a:off x="4222207" y="2713526"/>
            <a:ext cx="763571" cy="763571"/>
            <a:chOff x="4222208" y="2743916"/>
            <a:chExt cx="763571" cy="763571"/>
          </a:xfrm>
        </p:grpSpPr>
        <p:sp>
          <p:nvSpPr>
            <p:cNvPr id="23" name="Oval 22"/>
            <p:cNvSpPr/>
            <p:nvPr/>
          </p:nvSpPr>
          <p:spPr>
            <a:xfrm>
              <a:off x="4222208" y="2743916"/>
              <a:ext cx="763571" cy="763571"/>
            </a:xfrm>
            <a:prstGeom prst="ellipse">
              <a:avLst/>
            </a:prstGeom>
            <a:grpFill/>
            <a:ln w="1905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latin typeface="+mj-lt"/>
              </a:endParaRPr>
            </a:p>
          </p:txBody>
        </p:sp>
        <p:grpSp>
          <p:nvGrpSpPr>
            <p:cNvPr id="37" name="Group 36"/>
            <p:cNvGrpSpPr>
              <a:grpSpLocks noChangeAspect="1"/>
            </p:cNvGrpSpPr>
            <p:nvPr/>
          </p:nvGrpSpPr>
          <p:grpSpPr>
            <a:xfrm>
              <a:off x="4341605" y="2863314"/>
              <a:ext cx="524776" cy="524776"/>
              <a:chOff x="5256341" y="2517774"/>
              <a:chExt cx="1646238" cy="1646238"/>
            </a:xfrm>
          </p:grpSpPr>
          <p:sp>
            <p:nvSpPr>
              <p:cNvPr id="38" name="AutoShape 107"/>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9" name="Group 38"/>
              <p:cNvGrpSpPr/>
              <p:nvPr/>
            </p:nvGrpSpPr>
            <p:grpSpPr>
              <a:xfrm>
                <a:off x="5432682" y="2692400"/>
                <a:ext cx="1293556" cy="1296987"/>
                <a:chOff x="5432682" y="2692400"/>
                <a:chExt cx="1293556" cy="1296987"/>
              </a:xfrm>
            </p:grpSpPr>
            <p:sp>
              <p:nvSpPr>
                <p:cNvPr id="40" name="Freeform 39"/>
                <p:cNvSpPr>
                  <a:spLocks/>
                </p:cNvSpPr>
                <p:nvPr/>
              </p:nvSpPr>
              <p:spPr bwMode="auto">
                <a:xfrm>
                  <a:off x="5432682" y="2753317"/>
                  <a:ext cx="1285289" cy="1236070"/>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rgbClr val="05193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1" name="Freeform 40"/>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rgbClr val="0A37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5" name="Group 4"/>
          <p:cNvGrpSpPr/>
          <p:nvPr/>
        </p:nvGrpSpPr>
        <p:grpSpPr>
          <a:xfrm>
            <a:off x="4222207" y="5065629"/>
            <a:ext cx="763571" cy="763571"/>
            <a:chOff x="4222208" y="4803241"/>
            <a:chExt cx="763571" cy="763571"/>
          </a:xfrm>
        </p:grpSpPr>
        <p:sp>
          <p:nvSpPr>
            <p:cNvPr id="24" name="Oval 23"/>
            <p:cNvSpPr/>
            <p:nvPr/>
          </p:nvSpPr>
          <p:spPr>
            <a:xfrm>
              <a:off x="4222208" y="4803241"/>
              <a:ext cx="763571" cy="763571"/>
            </a:xfrm>
            <a:prstGeom prst="ellipse">
              <a:avLst/>
            </a:prstGeom>
            <a:grpFill/>
            <a:ln w="19050" cap="flat" cmpd="sng" algn="ctr">
              <a:gradFill flip="none" rotWithShape="1">
                <a:gsLst>
                  <a:gs pos="0">
                    <a:srgbClr val="051934"/>
                  </a:gs>
                  <a:gs pos="100000">
                    <a:srgbClr val="0A3774"/>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latin typeface="+mj-lt"/>
              </a:endParaRPr>
            </a:p>
          </p:txBody>
        </p:sp>
        <p:grpSp>
          <p:nvGrpSpPr>
            <p:cNvPr id="42" name="Group 41"/>
            <p:cNvGrpSpPr>
              <a:grpSpLocks noChangeAspect="1"/>
            </p:cNvGrpSpPr>
            <p:nvPr/>
          </p:nvGrpSpPr>
          <p:grpSpPr>
            <a:xfrm>
              <a:off x="4341606" y="4922638"/>
              <a:ext cx="524776" cy="524776"/>
              <a:chOff x="5273675" y="2606675"/>
              <a:chExt cx="1644650" cy="1644650"/>
            </a:xfrm>
          </p:grpSpPr>
          <p:sp>
            <p:nvSpPr>
              <p:cNvPr id="43"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 name="Group 43"/>
              <p:cNvGrpSpPr/>
              <p:nvPr/>
            </p:nvGrpSpPr>
            <p:grpSpPr>
              <a:xfrm>
                <a:off x="5444599" y="3152775"/>
                <a:ext cx="1302803" cy="552451"/>
                <a:chOff x="5445125" y="3152775"/>
                <a:chExt cx="1302803" cy="552451"/>
              </a:xfrm>
            </p:grpSpPr>
            <p:sp>
              <p:nvSpPr>
                <p:cNvPr id="45" name="Freeform 44"/>
                <p:cNvSpPr>
                  <a:spLocks/>
                </p:cNvSpPr>
                <p:nvPr/>
              </p:nvSpPr>
              <p:spPr bwMode="auto">
                <a:xfrm>
                  <a:off x="5858175" y="3152775"/>
                  <a:ext cx="470652" cy="550863"/>
                </a:xfrm>
                <a:custGeom>
                  <a:avLst/>
                  <a:gdLst>
                    <a:gd name="connsiteX0" fmla="*/ 153002 w 470652"/>
                    <a:gd name="connsiteY0" fmla="*/ 388952 h 550863"/>
                    <a:gd name="connsiteX1" fmla="*/ 141936 w 470652"/>
                    <a:gd name="connsiteY1" fmla="*/ 393758 h 550863"/>
                    <a:gd name="connsiteX2" fmla="*/ 141936 w 470652"/>
                    <a:gd name="connsiteY2" fmla="*/ 415117 h 550863"/>
                    <a:gd name="connsiteX3" fmla="*/ 174776 w 470652"/>
                    <a:gd name="connsiteY3" fmla="*/ 447868 h 550863"/>
                    <a:gd name="connsiteX4" fmla="*/ 141936 w 470652"/>
                    <a:gd name="connsiteY4" fmla="*/ 479194 h 550863"/>
                    <a:gd name="connsiteX5" fmla="*/ 141936 w 470652"/>
                    <a:gd name="connsiteY5" fmla="*/ 499841 h 550863"/>
                    <a:gd name="connsiteX6" fmla="*/ 153359 w 470652"/>
                    <a:gd name="connsiteY6" fmla="*/ 504825 h 550863"/>
                    <a:gd name="connsiteX7" fmla="*/ 164068 w 470652"/>
                    <a:gd name="connsiteY7" fmla="*/ 499841 h 550863"/>
                    <a:gd name="connsiteX8" fmla="*/ 196907 w 470652"/>
                    <a:gd name="connsiteY8" fmla="*/ 469227 h 550863"/>
                    <a:gd name="connsiteX9" fmla="*/ 229033 w 470652"/>
                    <a:gd name="connsiteY9" fmla="*/ 499841 h 550863"/>
                    <a:gd name="connsiteX10" fmla="*/ 239742 w 470652"/>
                    <a:gd name="connsiteY10" fmla="*/ 504825 h 550863"/>
                    <a:gd name="connsiteX11" fmla="*/ 250450 w 470652"/>
                    <a:gd name="connsiteY11" fmla="*/ 499841 h 550863"/>
                    <a:gd name="connsiteX12" fmla="*/ 250450 w 470652"/>
                    <a:gd name="connsiteY12" fmla="*/ 479194 h 550863"/>
                    <a:gd name="connsiteX13" fmla="*/ 218324 w 470652"/>
                    <a:gd name="connsiteY13" fmla="*/ 447868 h 550863"/>
                    <a:gd name="connsiteX14" fmla="*/ 250450 w 470652"/>
                    <a:gd name="connsiteY14" fmla="*/ 415117 h 550863"/>
                    <a:gd name="connsiteX15" fmla="*/ 250450 w 470652"/>
                    <a:gd name="connsiteY15" fmla="*/ 393758 h 550863"/>
                    <a:gd name="connsiteX16" fmla="*/ 229033 w 470652"/>
                    <a:gd name="connsiteY16" fmla="*/ 393758 h 550863"/>
                    <a:gd name="connsiteX17" fmla="*/ 196907 w 470652"/>
                    <a:gd name="connsiteY17" fmla="*/ 425796 h 550863"/>
                    <a:gd name="connsiteX18" fmla="*/ 164068 w 470652"/>
                    <a:gd name="connsiteY18" fmla="*/ 393758 h 550863"/>
                    <a:gd name="connsiteX19" fmla="*/ 153002 w 470652"/>
                    <a:gd name="connsiteY19" fmla="*/ 388952 h 550863"/>
                    <a:gd name="connsiteX20" fmla="*/ 196909 w 470652"/>
                    <a:gd name="connsiteY20" fmla="*/ 342900 h 550863"/>
                    <a:gd name="connsiteX21" fmla="*/ 302913 w 470652"/>
                    <a:gd name="connsiteY21" fmla="*/ 447594 h 550863"/>
                    <a:gd name="connsiteX22" fmla="*/ 196909 w 470652"/>
                    <a:gd name="connsiteY22" fmla="*/ 550863 h 550863"/>
                    <a:gd name="connsiteX23" fmla="*/ 90188 w 470652"/>
                    <a:gd name="connsiteY23" fmla="*/ 447594 h 550863"/>
                    <a:gd name="connsiteX24" fmla="*/ 196909 w 470652"/>
                    <a:gd name="connsiteY24" fmla="*/ 342900 h 550863"/>
                    <a:gd name="connsiteX25" fmla="*/ 17225 w 470652"/>
                    <a:gd name="connsiteY25" fmla="*/ 0 h 550863"/>
                    <a:gd name="connsiteX26" fmla="*/ 361980 w 470652"/>
                    <a:gd name="connsiteY26" fmla="*/ 0 h 550863"/>
                    <a:gd name="connsiteX27" fmla="*/ 377683 w 470652"/>
                    <a:gd name="connsiteY27" fmla="*/ 9278 h 550863"/>
                    <a:gd name="connsiteX28" fmla="*/ 469047 w 470652"/>
                    <a:gd name="connsiteY28" fmla="*/ 194833 h 550863"/>
                    <a:gd name="connsiteX29" fmla="*/ 469047 w 470652"/>
                    <a:gd name="connsiteY29" fmla="*/ 207679 h 550863"/>
                    <a:gd name="connsiteX30" fmla="*/ 377683 w 470652"/>
                    <a:gd name="connsiteY30" fmla="*/ 394661 h 550863"/>
                    <a:gd name="connsiteX31" fmla="*/ 361980 w 470652"/>
                    <a:gd name="connsiteY31" fmla="*/ 403225 h 550863"/>
                    <a:gd name="connsiteX32" fmla="*/ 325577 w 470652"/>
                    <a:gd name="connsiteY32" fmla="*/ 403225 h 550863"/>
                    <a:gd name="connsiteX33" fmla="*/ 197097 w 470652"/>
                    <a:gd name="connsiteY33" fmla="*/ 311161 h 550863"/>
                    <a:gd name="connsiteX34" fmla="*/ 69331 w 470652"/>
                    <a:gd name="connsiteY34" fmla="*/ 403225 h 550863"/>
                    <a:gd name="connsiteX35" fmla="*/ 17225 w 470652"/>
                    <a:gd name="connsiteY35" fmla="*/ 403225 h 550863"/>
                    <a:gd name="connsiteX36" fmla="*/ 1522 w 470652"/>
                    <a:gd name="connsiteY36" fmla="*/ 380388 h 550863"/>
                    <a:gd name="connsiteX37" fmla="*/ 87175 w 470652"/>
                    <a:gd name="connsiteY37" fmla="*/ 207679 h 550863"/>
                    <a:gd name="connsiteX38" fmla="*/ 87175 w 470652"/>
                    <a:gd name="connsiteY38" fmla="*/ 194833 h 550863"/>
                    <a:gd name="connsiteX39" fmla="*/ 1522 w 470652"/>
                    <a:gd name="connsiteY39" fmla="*/ 22838 h 550863"/>
                    <a:gd name="connsiteX40" fmla="*/ 17225 w 470652"/>
                    <a:gd name="connsiteY40" fmla="*/ 0 h 550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70652" h="550863">
                      <a:moveTo>
                        <a:pt x="153002" y="388952"/>
                      </a:moveTo>
                      <a:cubicBezTo>
                        <a:pt x="148897" y="388952"/>
                        <a:pt x="144792" y="390554"/>
                        <a:pt x="141936" y="393758"/>
                      </a:cubicBezTo>
                      <a:cubicBezTo>
                        <a:pt x="136225" y="398742"/>
                        <a:pt x="136225" y="408709"/>
                        <a:pt x="141936" y="415117"/>
                      </a:cubicBezTo>
                      <a:cubicBezTo>
                        <a:pt x="141936" y="415117"/>
                        <a:pt x="141936" y="415117"/>
                        <a:pt x="174776" y="447868"/>
                      </a:cubicBezTo>
                      <a:cubicBezTo>
                        <a:pt x="174776" y="447868"/>
                        <a:pt x="174776" y="447868"/>
                        <a:pt x="141936" y="479194"/>
                      </a:cubicBezTo>
                      <a:cubicBezTo>
                        <a:pt x="136225" y="485602"/>
                        <a:pt x="136225" y="494858"/>
                        <a:pt x="141936" y="499841"/>
                      </a:cubicBezTo>
                      <a:cubicBezTo>
                        <a:pt x="145506" y="503401"/>
                        <a:pt x="148362" y="504825"/>
                        <a:pt x="153359" y="504825"/>
                      </a:cubicBezTo>
                      <a:cubicBezTo>
                        <a:pt x="157642" y="504825"/>
                        <a:pt x="161212" y="503401"/>
                        <a:pt x="164068" y="499841"/>
                      </a:cubicBezTo>
                      <a:cubicBezTo>
                        <a:pt x="164068" y="499841"/>
                        <a:pt x="164068" y="499841"/>
                        <a:pt x="196907" y="469227"/>
                      </a:cubicBezTo>
                      <a:cubicBezTo>
                        <a:pt x="196907" y="469227"/>
                        <a:pt x="196907" y="469227"/>
                        <a:pt x="229033" y="499841"/>
                      </a:cubicBezTo>
                      <a:cubicBezTo>
                        <a:pt x="231889" y="503401"/>
                        <a:pt x="236172" y="504825"/>
                        <a:pt x="239742" y="504825"/>
                      </a:cubicBezTo>
                      <a:cubicBezTo>
                        <a:pt x="244025" y="504825"/>
                        <a:pt x="248308" y="503401"/>
                        <a:pt x="250450" y="499841"/>
                      </a:cubicBezTo>
                      <a:cubicBezTo>
                        <a:pt x="256875" y="494858"/>
                        <a:pt x="256875" y="485602"/>
                        <a:pt x="250450" y="479194"/>
                      </a:cubicBezTo>
                      <a:cubicBezTo>
                        <a:pt x="250450" y="479194"/>
                        <a:pt x="250450" y="479194"/>
                        <a:pt x="218324" y="447868"/>
                      </a:cubicBezTo>
                      <a:cubicBezTo>
                        <a:pt x="218324" y="447868"/>
                        <a:pt x="218324" y="447868"/>
                        <a:pt x="250450" y="415117"/>
                      </a:cubicBezTo>
                      <a:cubicBezTo>
                        <a:pt x="256875" y="408709"/>
                        <a:pt x="256875" y="398742"/>
                        <a:pt x="250450" y="393758"/>
                      </a:cubicBezTo>
                      <a:cubicBezTo>
                        <a:pt x="244739" y="387350"/>
                        <a:pt x="234744" y="387350"/>
                        <a:pt x="229033" y="393758"/>
                      </a:cubicBezTo>
                      <a:cubicBezTo>
                        <a:pt x="229033" y="393758"/>
                        <a:pt x="229033" y="393758"/>
                        <a:pt x="196907" y="425796"/>
                      </a:cubicBezTo>
                      <a:cubicBezTo>
                        <a:pt x="196907" y="425796"/>
                        <a:pt x="196907" y="425796"/>
                        <a:pt x="164068" y="393758"/>
                      </a:cubicBezTo>
                      <a:cubicBezTo>
                        <a:pt x="161212" y="390554"/>
                        <a:pt x="157107" y="388952"/>
                        <a:pt x="153002" y="388952"/>
                      </a:cubicBezTo>
                      <a:close/>
                      <a:moveTo>
                        <a:pt x="196909" y="342900"/>
                      </a:moveTo>
                      <a:cubicBezTo>
                        <a:pt x="254925" y="342900"/>
                        <a:pt x="302913" y="389193"/>
                        <a:pt x="302913" y="447594"/>
                      </a:cubicBezTo>
                      <a:cubicBezTo>
                        <a:pt x="302913" y="503858"/>
                        <a:pt x="254925" y="550863"/>
                        <a:pt x="196909" y="550863"/>
                      </a:cubicBezTo>
                      <a:cubicBezTo>
                        <a:pt x="137460" y="550863"/>
                        <a:pt x="90188" y="503858"/>
                        <a:pt x="90188" y="447594"/>
                      </a:cubicBezTo>
                      <a:cubicBezTo>
                        <a:pt x="90188" y="389193"/>
                        <a:pt x="137460" y="342900"/>
                        <a:pt x="196909" y="342900"/>
                      </a:cubicBezTo>
                      <a:close/>
                      <a:moveTo>
                        <a:pt x="17225" y="0"/>
                      </a:moveTo>
                      <a:cubicBezTo>
                        <a:pt x="17225" y="0"/>
                        <a:pt x="17225" y="0"/>
                        <a:pt x="361980" y="0"/>
                      </a:cubicBezTo>
                      <a:cubicBezTo>
                        <a:pt x="368404" y="0"/>
                        <a:pt x="374828" y="3568"/>
                        <a:pt x="377683" y="9278"/>
                      </a:cubicBezTo>
                      <a:cubicBezTo>
                        <a:pt x="377683" y="9278"/>
                        <a:pt x="377683" y="9278"/>
                        <a:pt x="469047" y="194833"/>
                      </a:cubicBezTo>
                      <a:cubicBezTo>
                        <a:pt x="471188" y="199115"/>
                        <a:pt x="471188" y="203397"/>
                        <a:pt x="469047" y="207679"/>
                      </a:cubicBezTo>
                      <a:cubicBezTo>
                        <a:pt x="469047" y="207679"/>
                        <a:pt x="469047" y="207679"/>
                        <a:pt x="377683" y="394661"/>
                      </a:cubicBezTo>
                      <a:cubicBezTo>
                        <a:pt x="374828" y="398943"/>
                        <a:pt x="368404" y="403225"/>
                        <a:pt x="361980" y="403225"/>
                      </a:cubicBezTo>
                      <a:cubicBezTo>
                        <a:pt x="361980" y="403225"/>
                        <a:pt x="361980" y="403225"/>
                        <a:pt x="325577" y="403225"/>
                      </a:cubicBezTo>
                      <a:cubicBezTo>
                        <a:pt x="307019" y="349700"/>
                        <a:pt x="256341" y="311161"/>
                        <a:pt x="197097" y="311161"/>
                      </a:cubicBezTo>
                      <a:cubicBezTo>
                        <a:pt x="137140" y="311161"/>
                        <a:pt x="87175" y="349700"/>
                        <a:pt x="69331" y="403225"/>
                      </a:cubicBezTo>
                      <a:cubicBezTo>
                        <a:pt x="69331" y="403225"/>
                        <a:pt x="69331" y="403225"/>
                        <a:pt x="17225" y="403225"/>
                      </a:cubicBezTo>
                      <a:cubicBezTo>
                        <a:pt x="4377" y="403225"/>
                        <a:pt x="-3475" y="391093"/>
                        <a:pt x="1522" y="380388"/>
                      </a:cubicBezTo>
                      <a:cubicBezTo>
                        <a:pt x="1522" y="380388"/>
                        <a:pt x="1522" y="380388"/>
                        <a:pt x="87175" y="207679"/>
                      </a:cubicBezTo>
                      <a:cubicBezTo>
                        <a:pt x="89317" y="203397"/>
                        <a:pt x="89317" y="199115"/>
                        <a:pt x="87175" y="194833"/>
                      </a:cubicBezTo>
                      <a:cubicBezTo>
                        <a:pt x="87175" y="194833"/>
                        <a:pt x="87175" y="194833"/>
                        <a:pt x="1522" y="22838"/>
                      </a:cubicBezTo>
                      <a:cubicBezTo>
                        <a:pt x="-3475" y="12133"/>
                        <a:pt x="4377" y="0"/>
                        <a:pt x="17225" y="0"/>
                      </a:cubicBezTo>
                      <a:close/>
                    </a:path>
                  </a:pathLst>
                </a:custGeom>
                <a:solidFill>
                  <a:srgbClr val="0A37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6" name="Freeform 45"/>
                <p:cNvSpPr>
                  <a:spLocks noChangeArrowheads="1"/>
                </p:cNvSpPr>
                <p:nvPr/>
              </p:nvSpPr>
              <p:spPr bwMode="auto">
                <a:xfrm>
                  <a:off x="5445125" y="3152775"/>
                  <a:ext cx="1302803" cy="552451"/>
                </a:xfrm>
                <a:custGeom>
                  <a:avLst/>
                  <a:gdLst>
                    <a:gd name="connsiteX0" fmla="*/ 1086933 w 1302803"/>
                    <a:gd name="connsiteY0" fmla="*/ 406063 h 552451"/>
                    <a:gd name="connsiteX1" fmla="*/ 1076251 w 1302803"/>
                    <a:gd name="connsiteY1" fmla="*/ 409816 h 552451"/>
                    <a:gd name="connsiteX2" fmla="*/ 1008596 w 1302803"/>
                    <a:gd name="connsiteY2" fmla="*/ 477732 h 552451"/>
                    <a:gd name="connsiteX3" fmla="*/ 977974 w 1302803"/>
                    <a:gd name="connsiteY3" fmla="*/ 446991 h 552451"/>
                    <a:gd name="connsiteX4" fmla="*/ 956609 w 1302803"/>
                    <a:gd name="connsiteY4" fmla="*/ 446991 h 552451"/>
                    <a:gd name="connsiteX5" fmla="*/ 956609 w 1302803"/>
                    <a:gd name="connsiteY5" fmla="*/ 468438 h 552451"/>
                    <a:gd name="connsiteX6" fmla="*/ 995778 w 1302803"/>
                    <a:gd name="connsiteY6" fmla="*/ 507758 h 552451"/>
                    <a:gd name="connsiteX7" fmla="*/ 1000763 w 1302803"/>
                    <a:gd name="connsiteY7" fmla="*/ 510617 h 552451"/>
                    <a:gd name="connsiteX8" fmla="*/ 1009309 w 1302803"/>
                    <a:gd name="connsiteY8" fmla="*/ 512762 h 552451"/>
                    <a:gd name="connsiteX9" fmla="*/ 1019279 w 1302803"/>
                    <a:gd name="connsiteY9" fmla="*/ 509188 h 552451"/>
                    <a:gd name="connsiteX10" fmla="*/ 1097615 w 1302803"/>
                    <a:gd name="connsiteY10" fmla="*/ 431263 h 552451"/>
                    <a:gd name="connsiteX11" fmla="*/ 1097615 w 1302803"/>
                    <a:gd name="connsiteY11" fmla="*/ 409816 h 552451"/>
                    <a:gd name="connsiteX12" fmla="*/ 1086933 w 1302803"/>
                    <a:gd name="connsiteY12" fmla="*/ 406063 h 552451"/>
                    <a:gd name="connsiteX13" fmla="*/ 249702 w 1302803"/>
                    <a:gd name="connsiteY13" fmla="*/ 406063 h 552451"/>
                    <a:gd name="connsiteX14" fmla="*/ 238638 w 1302803"/>
                    <a:gd name="connsiteY14" fmla="*/ 409816 h 552451"/>
                    <a:gd name="connsiteX15" fmla="*/ 171718 w 1302803"/>
                    <a:gd name="connsiteY15" fmla="*/ 477732 h 552451"/>
                    <a:gd name="connsiteX16" fmla="*/ 140776 w 1302803"/>
                    <a:gd name="connsiteY16" fmla="*/ 446991 h 552451"/>
                    <a:gd name="connsiteX17" fmla="*/ 118470 w 1302803"/>
                    <a:gd name="connsiteY17" fmla="*/ 446991 h 552451"/>
                    <a:gd name="connsiteX18" fmla="*/ 118470 w 1302803"/>
                    <a:gd name="connsiteY18" fmla="*/ 468438 h 552451"/>
                    <a:gd name="connsiteX19" fmla="*/ 158046 w 1302803"/>
                    <a:gd name="connsiteY19" fmla="*/ 507758 h 552451"/>
                    <a:gd name="connsiteX20" fmla="*/ 163803 w 1302803"/>
                    <a:gd name="connsiteY20" fmla="*/ 510617 h 552451"/>
                    <a:gd name="connsiteX21" fmla="*/ 171718 w 1302803"/>
                    <a:gd name="connsiteY21" fmla="*/ 512762 h 552451"/>
                    <a:gd name="connsiteX22" fmla="*/ 182512 w 1302803"/>
                    <a:gd name="connsiteY22" fmla="*/ 509188 h 552451"/>
                    <a:gd name="connsiteX23" fmla="*/ 260225 w 1302803"/>
                    <a:gd name="connsiteY23" fmla="*/ 431263 h 552451"/>
                    <a:gd name="connsiteX24" fmla="*/ 260225 w 1302803"/>
                    <a:gd name="connsiteY24" fmla="*/ 409816 h 552451"/>
                    <a:gd name="connsiteX25" fmla="*/ 249702 w 1302803"/>
                    <a:gd name="connsiteY25" fmla="*/ 406063 h 552451"/>
                    <a:gd name="connsiteX26" fmla="*/ 1027112 w 1302803"/>
                    <a:gd name="connsiteY26" fmla="*/ 344487 h 552451"/>
                    <a:gd name="connsiteX27" fmla="*/ 1133475 w 1302803"/>
                    <a:gd name="connsiteY27" fmla="*/ 448469 h 552451"/>
                    <a:gd name="connsiteX28" fmla="*/ 1027112 w 1302803"/>
                    <a:gd name="connsiteY28" fmla="*/ 552451 h 552451"/>
                    <a:gd name="connsiteX29" fmla="*/ 920749 w 1302803"/>
                    <a:gd name="connsiteY29" fmla="*/ 448469 h 552451"/>
                    <a:gd name="connsiteX30" fmla="*/ 1027112 w 1302803"/>
                    <a:gd name="connsiteY30" fmla="*/ 344487 h 552451"/>
                    <a:gd name="connsiteX31" fmla="*/ 192882 w 1302803"/>
                    <a:gd name="connsiteY31" fmla="*/ 344487 h 552451"/>
                    <a:gd name="connsiteX32" fmla="*/ 298451 w 1302803"/>
                    <a:gd name="connsiteY32" fmla="*/ 448469 h 552451"/>
                    <a:gd name="connsiteX33" fmla="*/ 192882 w 1302803"/>
                    <a:gd name="connsiteY33" fmla="*/ 552451 h 552451"/>
                    <a:gd name="connsiteX34" fmla="*/ 87313 w 1302803"/>
                    <a:gd name="connsiteY34" fmla="*/ 448469 h 552451"/>
                    <a:gd name="connsiteX35" fmla="*/ 192882 w 1302803"/>
                    <a:gd name="connsiteY35" fmla="*/ 344487 h 552451"/>
                    <a:gd name="connsiteX36" fmla="*/ 848631 w 1302803"/>
                    <a:gd name="connsiteY36" fmla="*/ 0 h 552451"/>
                    <a:gd name="connsiteX37" fmla="*/ 1193581 w 1302803"/>
                    <a:gd name="connsiteY37" fmla="*/ 0 h 552451"/>
                    <a:gd name="connsiteX38" fmla="*/ 1208548 w 1302803"/>
                    <a:gd name="connsiteY38" fmla="*/ 9278 h 552451"/>
                    <a:gd name="connsiteX39" fmla="*/ 1301200 w 1302803"/>
                    <a:gd name="connsiteY39" fmla="*/ 194119 h 552451"/>
                    <a:gd name="connsiteX40" fmla="*/ 1301200 w 1302803"/>
                    <a:gd name="connsiteY40" fmla="*/ 207679 h 552451"/>
                    <a:gd name="connsiteX41" fmla="*/ 1208548 w 1302803"/>
                    <a:gd name="connsiteY41" fmla="*/ 393947 h 552451"/>
                    <a:gd name="connsiteX42" fmla="*/ 1193581 w 1302803"/>
                    <a:gd name="connsiteY42" fmla="*/ 403225 h 552451"/>
                    <a:gd name="connsiteX43" fmla="*/ 1155095 w 1302803"/>
                    <a:gd name="connsiteY43" fmla="*/ 403225 h 552451"/>
                    <a:gd name="connsiteX44" fmla="*/ 1027521 w 1302803"/>
                    <a:gd name="connsiteY44" fmla="*/ 312588 h 552451"/>
                    <a:gd name="connsiteX45" fmla="*/ 899233 w 1302803"/>
                    <a:gd name="connsiteY45" fmla="*/ 403225 h 552451"/>
                    <a:gd name="connsiteX46" fmla="*/ 848631 w 1302803"/>
                    <a:gd name="connsiteY46" fmla="*/ 403225 h 552451"/>
                    <a:gd name="connsiteX47" fmla="*/ 833664 w 1302803"/>
                    <a:gd name="connsiteY47" fmla="*/ 380388 h 552451"/>
                    <a:gd name="connsiteX48" fmla="*/ 919189 w 1302803"/>
                    <a:gd name="connsiteY48" fmla="*/ 207679 h 552451"/>
                    <a:gd name="connsiteX49" fmla="*/ 919189 w 1302803"/>
                    <a:gd name="connsiteY49" fmla="*/ 194119 h 552451"/>
                    <a:gd name="connsiteX50" fmla="*/ 833664 w 1302803"/>
                    <a:gd name="connsiteY50" fmla="*/ 22837 h 552451"/>
                    <a:gd name="connsiteX51" fmla="*/ 848631 w 1302803"/>
                    <a:gd name="connsiteY51" fmla="*/ 0 h 552451"/>
                    <a:gd name="connsiteX52" fmla="*/ 15719 w 1302803"/>
                    <a:gd name="connsiteY52" fmla="*/ 0 h 552451"/>
                    <a:gd name="connsiteX53" fmla="*/ 357249 w 1302803"/>
                    <a:gd name="connsiteY53" fmla="*/ 0 h 552451"/>
                    <a:gd name="connsiteX54" fmla="*/ 371539 w 1302803"/>
                    <a:gd name="connsiteY54" fmla="*/ 9278 h 552451"/>
                    <a:gd name="connsiteX55" fmla="*/ 462995 w 1302803"/>
                    <a:gd name="connsiteY55" fmla="*/ 194119 h 552451"/>
                    <a:gd name="connsiteX56" fmla="*/ 462995 w 1302803"/>
                    <a:gd name="connsiteY56" fmla="*/ 207679 h 552451"/>
                    <a:gd name="connsiteX57" fmla="*/ 371539 w 1302803"/>
                    <a:gd name="connsiteY57" fmla="*/ 393947 h 552451"/>
                    <a:gd name="connsiteX58" fmla="*/ 357249 w 1302803"/>
                    <a:gd name="connsiteY58" fmla="*/ 403225 h 552451"/>
                    <a:gd name="connsiteX59" fmla="*/ 320095 w 1302803"/>
                    <a:gd name="connsiteY59" fmla="*/ 403225 h 552451"/>
                    <a:gd name="connsiteX60" fmla="*/ 192915 w 1302803"/>
                    <a:gd name="connsiteY60" fmla="*/ 312588 h 552451"/>
                    <a:gd name="connsiteX61" fmla="*/ 65734 w 1302803"/>
                    <a:gd name="connsiteY61" fmla="*/ 403225 h 552451"/>
                    <a:gd name="connsiteX62" fmla="*/ 15719 w 1302803"/>
                    <a:gd name="connsiteY62" fmla="*/ 403225 h 552451"/>
                    <a:gd name="connsiteX63" fmla="*/ 0 w 1302803"/>
                    <a:gd name="connsiteY63" fmla="*/ 386811 h 552451"/>
                    <a:gd name="connsiteX64" fmla="*/ 0 w 1302803"/>
                    <a:gd name="connsiteY64" fmla="*/ 16414 h 552451"/>
                    <a:gd name="connsiteX65" fmla="*/ 15719 w 1302803"/>
                    <a:gd name="connsiteY65" fmla="*/ 0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302803" h="552451">
                      <a:moveTo>
                        <a:pt x="1086933" y="406063"/>
                      </a:moveTo>
                      <a:cubicBezTo>
                        <a:pt x="1083016" y="406063"/>
                        <a:pt x="1079099" y="407314"/>
                        <a:pt x="1076251" y="409816"/>
                      </a:cubicBezTo>
                      <a:cubicBezTo>
                        <a:pt x="1076251" y="409816"/>
                        <a:pt x="1076251" y="409816"/>
                        <a:pt x="1008596" y="477732"/>
                      </a:cubicBezTo>
                      <a:cubicBezTo>
                        <a:pt x="1008596" y="477732"/>
                        <a:pt x="1008596" y="477732"/>
                        <a:pt x="977974" y="446991"/>
                      </a:cubicBezTo>
                      <a:cubicBezTo>
                        <a:pt x="972277" y="440557"/>
                        <a:pt x="963019" y="440557"/>
                        <a:pt x="956609" y="446991"/>
                      </a:cubicBezTo>
                      <a:cubicBezTo>
                        <a:pt x="950912" y="453425"/>
                        <a:pt x="950912" y="462719"/>
                        <a:pt x="956609" y="468438"/>
                      </a:cubicBezTo>
                      <a:cubicBezTo>
                        <a:pt x="956609" y="468438"/>
                        <a:pt x="956609" y="468438"/>
                        <a:pt x="995778" y="507758"/>
                      </a:cubicBezTo>
                      <a:cubicBezTo>
                        <a:pt x="997202" y="509188"/>
                        <a:pt x="999338" y="509903"/>
                        <a:pt x="1000763" y="510617"/>
                      </a:cubicBezTo>
                      <a:cubicBezTo>
                        <a:pt x="1003611" y="512047"/>
                        <a:pt x="1006460" y="512762"/>
                        <a:pt x="1009309" y="512762"/>
                      </a:cubicBezTo>
                      <a:cubicBezTo>
                        <a:pt x="1013581" y="512762"/>
                        <a:pt x="1017142" y="511332"/>
                        <a:pt x="1019279" y="509188"/>
                      </a:cubicBezTo>
                      <a:cubicBezTo>
                        <a:pt x="1019279" y="509188"/>
                        <a:pt x="1019279" y="509188"/>
                        <a:pt x="1097615" y="431263"/>
                      </a:cubicBezTo>
                      <a:cubicBezTo>
                        <a:pt x="1103312" y="426259"/>
                        <a:pt x="1103312" y="416251"/>
                        <a:pt x="1097615" y="409816"/>
                      </a:cubicBezTo>
                      <a:cubicBezTo>
                        <a:pt x="1094767" y="407314"/>
                        <a:pt x="1090850" y="406063"/>
                        <a:pt x="1086933" y="406063"/>
                      </a:cubicBezTo>
                      <a:close/>
                      <a:moveTo>
                        <a:pt x="249702" y="406063"/>
                      </a:moveTo>
                      <a:cubicBezTo>
                        <a:pt x="245834" y="406063"/>
                        <a:pt x="241876" y="407314"/>
                        <a:pt x="238638" y="409816"/>
                      </a:cubicBezTo>
                      <a:cubicBezTo>
                        <a:pt x="238638" y="409816"/>
                        <a:pt x="238638" y="409816"/>
                        <a:pt x="171718" y="477732"/>
                      </a:cubicBezTo>
                      <a:cubicBezTo>
                        <a:pt x="171718" y="477732"/>
                        <a:pt x="171718" y="477732"/>
                        <a:pt x="140776" y="446991"/>
                      </a:cubicBezTo>
                      <a:cubicBezTo>
                        <a:pt x="134300" y="440557"/>
                        <a:pt x="124226" y="440557"/>
                        <a:pt x="118470" y="446991"/>
                      </a:cubicBezTo>
                      <a:cubicBezTo>
                        <a:pt x="112713" y="453425"/>
                        <a:pt x="112713" y="462719"/>
                        <a:pt x="118470" y="468438"/>
                      </a:cubicBezTo>
                      <a:cubicBezTo>
                        <a:pt x="118470" y="468438"/>
                        <a:pt x="118470" y="468438"/>
                        <a:pt x="158046" y="507758"/>
                      </a:cubicBezTo>
                      <a:cubicBezTo>
                        <a:pt x="160205" y="509188"/>
                        <a:pt x="161644" y="509903"/>
                        <a:pt x="163803" y="510617"/>
                      </a:cubicBezTo>
                      <a:cubicBezTo>
                        <a:pt x="165961" y="512047"/>
                        <a:pt x="168840" y="512762"/>
                        <a:pt x="171718" y="512762"/>
                      </a:cubicBezTo>
                      <a:cubicBezTo>
                        <a:pt x="175316" y="512762"/>
                        <a:pt x="179633" y="511332"/>
                        <a:pt x="182512" y="509188"/>
                      </a:cubicBezTo>
                      <a:cubicBezTo>
                        <a:pt x="182512" y="509188"/>
                        <a:pt x="182512" y="509188"/>
                        <a:pt x="260225" y="431263"/>
                      </a:cubicBezTo>
                      <a:cubicBezTo>
                        <a:pt x="266701" y="426259"/>
                        <a:pt x="266701" y="416251"/>
                        <a:pt x="260225" y="409816"/>
                      </a:cubicBezTo>
                      <a:cubicBezTo>
                        <a:pt x="257347" y="407314"/>
                        <a:pt x="253569" y="406063"/>
                        <a:pt x="249702" y="406063"/>
                      </a:cubicBezTo>
                      <a:close/>
                      <a:moveTo>
                        <a:pt x="1027112" y="344487"/>
                      </a:moveTo>
                      <a:cubicBezTo>
                        <a:pt x="1085855" y="344487"/>
                        <a:pt x="1133475" y="391041"/>
                        <a:pt x="1133475" y="448469"/>
                      </a:cubicBezTo>
                      <a:cubicBezTo>
                        <a:pt x="1133475" y="505897"/>
                        <a:pt x="1085855" y="552451"/>
                        <a:pt x="1027112" y="552451"/>
                      </a:cubicBezTo>
                      <a:cubicBezTo>
                        <a:pt x="968369" y="552451"/>
                        <a:pt x="920749" y="505897"/>
                        <a:pt x="920749" y="448469"/>
                      </a:cubicBezTo>
                      <a:cubicBezTo>
                        <a:pt x="920749" y="391041"/>
                        <a:pt x="968369" y="344487"/>
                        <a:pt x="1027112" y="344487"/>
                      </a:cubicBezTo>
                      <a:close/>
                      <a:moveTo>
                        <a:pt x="192882" y="344487"/>
                      </a:moveTo>
                      <a:cubicBezTo>
                        <a:pt x="251186" y="344487"/>
                        <a:pt x="298451" y="391041"/>
                        <a:pt x="298451" y="448469"/>
                      </a:cubicBezTo>
                      <a:cubicBezTo>
                        <a:pt x="298451" y="505897"/>
                        <a:pt x="251186" y="552451"/>
                        <a:pt x="192882" y="552451"/>
                      </a:cubicBezTo>
                      <a:cubicBezTo>
                        <a:pt x="134578" y="552451"/>
                        <a:pt x="87313" y="505897"/>
                        <a:pt x="87313" y="448469"/>
                      </a:cubicBezTo>
                      <a:cubicBezTo>
                        <a:pt x="87313" y="391041"/>
                        <a:pt x="134578" y="344487"/>
                        <a:pt x="192882" y="344487"/>
                      </a:cubicBezTo>
                      <a:close/>
                      <a:moveTo>
                        <a:pt x="848631" y="0"/>
                      </a:moveTo>
                      <a:cubicBezTo>
                        <a:pt x="848631" y="0"/>
                        <a:pt x="848631" y="0"/>
                        <a:pt x="1193581" y="0"/>
                      </a:cubicBezTo>
                      <a:cubicBezTo>
                        <a:pt x="1200708" y="0"/>
                        <a:pt x="1205697" y="3568"/>
                        <a:pt x="1208548" y="9278"/>
                      </a:cubicBezTo>
                      <a:cubicBezTo>
                        <a:pt x="1208548" y="9278"/>
                        <a:pt x="1208548" y="9278"/>
                        <a:pt x="1301200" y="194119"/>
                      </a:cubicBezTo>
                      <a:cubicBezTo>
                        <a:pt x="1303338" y="198401"/>
                        <a:pt x="1303338" y="203397"/>
                        <a:pt x="1301200" y="207679"/>
                      </a:cubicBezTo>
                      <a:cubicBezTo>
                        <a:pt x="1301200" y="207679"/>
                        <a:pt x="1301200" y="207679"/>
                        <a:pt x="1208548" y="393947"/>
                      </a:cubicBezTo>
                      <a:cubicBezTo>
                        <a:pt x="1205697" y="398943"/>
                        <a:pt x="1200708" y="403225"/>
                        <a:pt x="1193581" y="403225"/>
                      </a:cubicBezTo>
                      <a:cubicBezTo>
                        <a:pt x="1193581" y="403225"/>
                        <a:pt x="1193581" y="403225"/>
                        <a:pt x="1155095" y="403225"/>
                      </a:cubicBezTo>
                      <a:cubicBezTo>
                        <a:pt x="1136565" y="350413"/>
                        <a:pt x="1085963" y="312588"/>
                        <a:pt x="1027521" y="312588"/>
                      </a:cubicBezTo>
                      <a:cubicBezTo>
                        <a:pt x="968366" y="312588"/>
                        <a:pt x="917764" y="350413"/>
                        <a:pt x="899233" y="403225"/>
                      </a:cubicBezTo>
                      <a:cubicBezTo>
                        <a:pt x="899233" y="403225"/>
                        <a:pt x="899233" y="403225"/>
                        <a:pt x="848631" y="403225"/>
                      </a:cubicBezTo>
                      <a:cubicBezTo>
                        <a:pt x="835802" y="403225"/>
                        <a:pt x="828675" y="390379"/>
                        <a:pt x="833664" y="380388"/>
                      </a:cubicBezTo>
                      <a:cubicBezTo>
                        <a:pt x="833664" y="380388"/>
                        <a:pt x="833664" y="380388"/>
                        <a:pt x="919189" y="207679"/>
                      </a:cubicBezTo>
                      <a:cubicBezTo>
                        <a:pt x="921327" y="203397"/>
                        <a:pt x="921327" y="198401"/>
                        <a:pt x="919189" y="194119"/>
                      </a:cubicBezTo>
                      <a:cubicBezTo>
                        <a:pt x="919189" y="194119"/>
                        <a:pt x="919189" y="194119"/>
                        <a:pt x="833664" y="22837"/>
                      </a:cubicBezTo>
                      <a:cubicBezTo>
                        <a:pt x="828675" y="12132"/>
                        <a:pt x="835802" y="0"/>
                        <a:pt x="848631" y="0"/>
                      </a:cubicBezTo>
                      <a:close/>
                      <a:moveTo>
                        <a:pt x="15719" y="0"/>
                      </a:moveTo>
                      <a:cubicBezTo>
                        <a:pt x="15719" y="0"/>
                        <a:pt x="15719" y="0"/>
                        <a:pt x="357249" y="0"/>
                      </a:cubicBezTo>
                      <a:cubicBezTo>
                        <a:pt x="362965" y="0"/>
                        <a:pt x="368681" y="3568"/>
                        <a:pt x="371539" y="9278"/>
                      </a:cubicBezTo>
                      <a:cubicBezTo>
                        <a:pt x="371539" y="9278"/>
                        <a:pt x="371539" y="9278"/>
                        <a:pt x="462995" y="194119"/>
                      </a:cubicBezTo>
                      <a:cubicBezTo>
                        <a:pt x="465138" y="198401"/>
                        <a:pt x="465138" y="203397"/>
                        <a:pt x="462995" y="207679"/>
                      </a:cubicBezTo>
                      <a:cubicBezTo>
                        <a:pt x="462995" y="207679"/>
                        <a:pt x="462995" y="207679"/>
                        <a:pt x="371539" y="393947"/>
                      </a:cubicBezTo>
                      <a:cubicBezTo>
                        <a:pt x="369396" y="398943"/>
                        <a:pt x="362965" y="403225"/>
                        <a:pt x="357249" y="403225"/>
                      </a:cubicBezTo>
                      <a:cubicBezTo>
                        <a:pt x="357249" y="403225"/>
                        <a:pt x="357249" y="403225"/>
                        <a:pt x="320095" y="403225"/>
                      </a:cubicBezTo>
                      <a:cubicBezTo>
                        <a:pt x="301518" y="350413"/>
                        <a:pt x="252218" y="312588"/>
                        <a:pt x="192915" y="312588"/>
                      </a:cubicBezTo>
                      <a:cubicBezTo>
                        <a:pt x="133611" y="312588"/>
                        <a:pt x="84310" y="350413"/>
                        <a:pt x="65734" y="403225"/>
                      </a:cubicBezTo>
                      <a:cubicBezTo>
                        <a:pt x="65734" y="403225"/>
                        <a:pt x="65734" y="403225"/>
                        <a:pt x="15719" y="403225"/>
                      </a:cubicBezTo>
                      <a:cubicBezTo>
                        <a:pt x="7145" y="403225"/>
                        <a:pt x="0" y="395375"/>
                        <a:pt x="0" y="386811"/>
                      </a:cubicBezTo>
                      <a:cubicBezTo>
                        <a:pt x="0" y="386811"/>
                        <a:pt x="0" y="386811"/>
                        <a:pt x="0" y="16414"/>
                      </a:cubicBezTo>
                      <a:cubicBezTo>
                        <a:pt x="0" y="7137"/>
                        <a:pt x="7145" y="0"/>
                        <a:pt x="15719" y="0"/>
                      </a:cubicBezTo>
                      <a:close/>
                    </a:path>
                  </a:pathLst>
                </a:custGeom>
                <a:solidFill>
                  <a:srgbClr val="05193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spTree>
    <p:extLst>
      <p:ext uri="{BB962C8B-B14F-4D97-AF65-F5344CB8AC3E}">
        <p14:creationId xmlns:p14="http://schemas.microsoft.com/office/powerpoint/2010/main" val="119239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6F681F65-9A6D-6548-8D0B-FA2D31C9A968}"/>
              </a:ext>
            </a:extLst>
          </p:cNvPr>
          <p:cNvSpPr/>
          <p:nvPr/>
        </p:nvSpPr>
        <p:spPr>
          <a:xfrm>
            <a:off x="79499" y="5087219"/>
            <a:ext cx="12112501" cy="1715284"/>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alibri"/>
              <a:ea typeface="+mn-ea"/>
              <a:cs typeface="+mn-cs"/>
            </a:endParaRPr>
          </a:p>
        </p:txBody>
      </p:sp>
      <p:grpSp>
        <p:nvGrpSpPr>
          <p:cNvPr id="49" name="Group 48">
            <a:extLst>
              <a:ext uri="{FF2B5EF4-FFF2-40B4-BE49-F238E27FC236}">
                <a16:creationId xmlns:a16="http://schemas.microsoft.com/office/drawing/2014/main" id="{1CC94CE1-EBEC-334E-9D5A-98103492A7AF}"/>
              </a:ext>
            </a:extLst>
          </p:cNvPr>
          <p:cNvGrpSpPr/>
          <p:nvPr/>
        </p:nvGrpSpPr>
        <p:grpSpPr>
          <a:xfrm>
            <a:off x="4959312" y="193052"/>
            <a:ext cx="7232688" cy="6606440"/>
            <a:chOff x="8361736" y="3883563"/>
            <a:chExt cx="2217733" cy="2025709"/>
          </a:xfrm>
        </p:grpSpPr>
        <p:pic>
          <p:nvPicPr>
            <p:cNvPr id="47" name="Picture 46" descr="A close up of a logo&#10;&#10;Description automatically generated">
              <a:extLst>
                <a:ext uri="{FF2B5EF4-FFF2-40B4-BE49-F238E27FC236}">
                  <a16:creationId xmlns:a16="http://schemas.microsoft.com/office/drawing/2014/main" id="{ADE05E1A-0834-5D46-9753-9246B472EBF9}"/>
                </a:ext>
              </a:extLst>
            </p:cNvPr>
            <p:cNvPicPr>
              <a:picLocks noChangeAspect="1"/>
            </p:cNvPicPr>
            <p:nvPr/>
          </p:nvPicPr>
          <p:blipFill rotWithShape="1">
            <a:blip r:embed="rId2">
              <a:duotone>
                <a:srgbClr val="FFC000">
                  <a:shade val="45000"/>
                  <a:satMod val="135000"/>
                </a:srgbClr>
                <a:prstClr val="white"/>
              </a:duotone>
              <a:alphaModFix amt="50000"/>
              <a:extLst>
                <a:ext uri="{28A0092B-C50C-407E-A947-70E740481C1C}">
                  <a14:useLocalDpi xmlns:a14="http://schemas.microsoft.com/office/drawing/2010/main" val="0"/>
                </a:ext>
              </a:extLst>
            </a:blip>
            <a:srcRect l="-4628" r="23124" b="24296"/>
            <a:stretch/>
          </p:blipFill>
          <p:spPr>
            <a:xfrm>
              <a:off x="8452185" y="3883563"/>
              <a:ext cx="2127284" cy="2025709"/>
            </a:xfrm>
            <a:prstGeom prst="rect">
              <a:avLst/>
            </a:prstGeom>
          </p:spPr>
        </p:pic>
        <p:sp>
          <p:nvSpPr>
            <p:cNvPr id="48" name="Rectangle 47">
              <a:extLst>
                <a:ext uri="{FF2B5EF4-FFF2-40B4-BE49-F238E27FC236}">
                  <a16:creationId xmlns:a16="http://schemas.microsoft.com/office/drawing/2014/main" id="{9FA22BA2-1CB1-104D-9622-2C834377A4B8}"/>
                </a:ext>
              </a:extLst>
            </p:cNvPr>
            <p:cNvSpPr/>
            <p:nvPr/>
          </p:nvSpPr>
          <p:spPr>
            <a:xfrm>
              <a:off x="8361736" y="3929053"/>
              <a:ext cx="2217733" cy="198021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B5338F9D-8CAF-7E41-AF6D-107004100B20}"/>
              </a:ext>
            </a:extLst>
          </p:cNvPr>
          <p:cNvSpPr txBox="1"/>
          <p:nvPr/>
        </p:nvSpPr>
        <p:spPr>
          <a:xfrm>
            <a:off x="8125345" y="881052"/>
            <a:ext cx="1332855" cy="136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0" b="1" i="0" u="none" strike="noStrike" kern="1200" cap="none" spc="0" normalizeH="0" baseline="0" noProof="0" dirty="0">
                <a:ln>
                  <a:noFill/>
                </a:ln>
                <a:solidFill>
                  <a:srgbClr val="EDAE1D"/>
                </a:solidFill>
                <a:effectLst/>
                <a:uLnTx/>
                <a:uFillTx/>
                <a:latin typeface="Calibri"/>
                <a:ea typeface="+mn-ea"/>
                <a:cs typeface="+mn-cs"/>
              </a:rPr>
              <a:t>4</a:t>
            </a:r>
          </a:p>
        </p:txBody>
      </p:sp>
      <p:sp>
        <p:nvSpPr>
          <p:cNvPr id="16" name="TextBox 15">
            <a:extLst>
              <a:ext uri="{FF2B5EF4-FFF2-40B4-BE49-F238E27FC236}">
                <a16:creationId xmlns:a16="http://schemas.microsoft.com/office/drawing/2014/main" id="{CE771429-B1A9-404A-93FA-A068C323D407}"/>
              </a:ext>
            </a:extLst>
          </p:cNvPr>
          <p:cNvSpPr txBox="1"/>
          <p:nvPr/>
        </p:nvSpPr>
        <p:spPr>
          <a:xfrm>
            <a:off x="10366474" y="881052"/>
            <a:ext cx="1332855" cy="136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0" b="1" i="0" u="none" strike="noStrike" kern="1200" cap="none" spc="0" normalizeH="0" baseline="0" noProof="0" dirty="0">
                <a:ln>
                  <a:noFill/>
                </a:ln>
                <a:solidFill>
                  <a:srgbClr val="EDAE1D"/>
                </a:solidFill>
                <a:effectLst/>
                <a:uLnTx/>
                <a:uFillTx/>
                <a:latin typeface="Calibri"/>
                <a:ea typeface="+mn-ea"/>
                <a:cs typeface="+mn-cs"/>
              </a:rPr>
              <a:t>5</a:t>
            </a:r>
          </a:p>
        </p:txBody>
      </p:sp>
      <p:sp>
        <p:nvSpPr>
          <p:cNvPr id="12" name="TextBox 11">
            <a:extLst>
              <a:ext uri="{FF2B5EF4-FFF2-40B4-BE49-F238E27FC236}">
                <a16:creationId xmlns:a16="http://schemas.microsoft.com/office/drawing/2014/main" id="{75FFDA2A-05AB-0A40-84D0-53D7B14C766B}"/>
              </a:ext>
            </a:extLst>
          </p:cNvPr>
          <p:cNvSpPr txBox="1"/>
          <p:nvPr/>
        </p:nvSpPr>
        <p:spPr>
          <a:xfrm>
            <a:off x="1144930" y="881052"/>
            <a:ext cx="1332855" cy="136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0" b="1" i="0" u="none" strike="noStrike" kern="1200" cap="none" spc="0" normalizeH="0" baseline="0" noProof="0" dirty="0">
                <a:ln>
                  <a:noFill/>
                </a:ln>
                <a:solidFill>
                  <a:srgbClr val="EDAE1D"/>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103AFAF3-DB8F-5649-A300-57926878EAB3}"/>
              </a:ext>
            </a:extLst>
          </p:cNvPr>
          <p:cNvSpPr txBox="1"/>
          <p:nvPr/>
        </p:nvSpPr>
        <p:spPr>
          <a:xfrm>
            <a:off x="3654909" y="881052"/>
            <a:ext cx="1332855" cy="136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0" b="1" i="0" u="none" strike="noStrike" kern="1200" cap="none" spc="0" normalizeH="0" baseline="0" noProof="0" dirty="0">
                <a:ln>
                  <a:noFill/>
                </a:ln>
                <a:solidFill>
                  <a:srgbClr val="EDAE1D"/>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49E78B4C-7935-C345-8689-B9906FDF77D8}"/>
              </a:ext>
            </a:extLst>
          </p:cNvPr>
          <p:cNvSpPr txBox="1"/>
          <p:nvPr/>
        </p:nvSpPr>
        <p:spPr>
          <a:xfrm>
            <a:off x="5840658" y="881052"/>
            <a:ext cx="1332855" cy="136327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0" b="1" i="0" u="none" strike="noStrike" kern="1200" cap="none" spc="0" normalizeH="0" baseline="0" noProof="0" dirty="0">
                <a:ln>
                  <a:noFill/>
                </a:ln>
                <a:solidFill>
                  <a:srgbClr val="EDAE1D"/>
                </a:solidFill>
                <a:effectLst/>
                <a:uLnTx/>
                <a:uFillTx/>
                <a:latin typeface="Calibri"/>
                <a:ea typeface="+mn-ea"/>
                <a:cs typeface="+mn-cs"/>
              </a:rPr>
              <a:t>3</a:t>
            </a:r>
          </a:p>
        </p:txBody>
      </p:sp>
      <p:sp>
        <p:nvSpPr>
          <p:cNvPr id="4" name="Rectangle 3">
            <a:extLst>
              <a:ext uri="{FF2B5EF4-FFF2-40B4-BE49-F238E27FC236}">
                <a16:creationId xmlns:a16="http://schemas.microsoft.com/office/drawing/2014/main" id="{CD108E3C-1450-DB49-A3EA-052A326F78EF}"/>
              </a:ext>
            </a:extLst>
          </p:cNvPr>
          <p:cNvSpPr/>
          <p:nvPr/>
        </p:nvSpPr>
        <p:spPr>
          <a:xfrm>
            <a:off x="0" y="2000675"/>
            <a:ext cx="12192000" cy="3764448"/>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 name="Title 1">
            <a:extLst>
              <a:ext uri="{FF2B5EF4-FFF2-40B4-BE49-F238E27FC236}">
                <a16:creationId xmlns:a16="http://schemas.microsoft.com/office/drawing/2014/main" id="{96B2214D-68D4-D14E-9BEE-DF8DD80D7BDA}"/>
              </a:ext>
            </a:extLst>
          </p:cNvPr>
          <p:cNvSpPr>
            <a:spLocks noGrp="1"/>
          </p:cNvSpPr>
          <p:nvPr>
            <p:ph type="title"/>
          </p:nvPr>
        </p:nvSpPr>
        <p:spPr>
          <a:xfrm>
            <a:off x="542723" y="436649"/>
            <a:ext cx="11615045" cy="443198"/>
          </a:xfrm>
        </p:spPr>
        <p:txBody>
          <a:bodyPr/>
          <a:lstStyle/>
          <a:p>
            <a:r>
              <a:rPr lang="en-US" sz="3200" b="1" dirty="0">
                <a:solidFill>
                  <a:schemeClr val="accent3"/>
                </a:solidFill>
              </a:rPr>
              <a:t>Kansas Vaccination Phases | </a:t>
            </a:r>
            <a:r>
              <a:rPr lang="en-US" sz="3200" dirty="0"/>
              <a:t>By Population</a:t>
            </a:r>
          </a:p>
        </p:txBody>
      </p:sp>
      <p:sp>
        <p:nvSpPr>
          <p:cNvPr id="6" name="Title 1">
            <a:extLst>
              <a:ext uri="{FF2B5EF4-FFF2-40B4-BE49-F238E27FC236}">
                <a16:creationId xmlns:a16="http://schemas.microsoft.com/office/drawing/2014/main" id="{F1D56BBB-54F4-8643-AD46-6886CE210135}"/>
              </a:ext>
            </a:extLst>
          </p:cNvPr>
          <p:cNvSpPr txBox="1">
            <a:spLocks/>
          </p:cNvSpPr>
          <p:nvPr/>
        </p:nvSpPr>
        <p:spPr>
          <a:xfrm rot="16200000">
            <a:off x="-623316" y="3368722"/>
            <a:ext cx="2332082" cy="332399"/>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ct val="0"/>
              </a:spcBef>
              <a:spcAft>
                <a:spcPts val="0"/>
              </a:spcAft>
              <a:buNone/>
              <a:defRPr sz="2400" b="0" i="0" u="none" kern="1200" spc="0">
                <a:solidFill>
                  <a:schemeClr val="tx2"/>
                </a:solidFill>
                <a:latin typeface="+mj-lt"/>
                <a:ea typeface="+mj-ea"/>
                <a:cs typeface="+mj-cs"/>
                <a:sym typeface="+mj-lt"/>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j-ea"/>
                <a:cs typeface="+mj-cs"/>
                <a:sym typeface="+mj-lt"/>
              </a:rPr>
              <a:t>Population</a:t>
            </a:r>
            <a:endParaRPr kumimoji="0" lang="en-US" sz="2400" b="0" i="0" u="none" strike="noStrike" kern="1200" cap="none" spc="0" normalizeH="0" baseline="0" noProof="0" dirty="0">
              <a:ln>
                <a:noFill/>
              </a:ln>
              <a:solidFill>
                <a:prstClr val="white"/>
              </a:solidFill>
              <a:effectLst/>
              <a:uLnTx/>
              <a:uFillTx/>
              <a:latin typeface="Calibri"/>
              <a:ea typeface="+mj-ea"/>
              <a:cs typeface="+mj-cs"/>
              <a:sym typeface="+mj-lt"/>
            </a:endParaRPr>
          </a:p>
        </p:txBody>
      </p:sp>
      <p:sp>
        <p:nvSpPr>
          <p:cNvPr id="38" name="ee4pHeader1">
            <a:extLst>
              <a:ext uri="{FF2B5EF4-FFF2-40B4-BE49-F238E27FC236}">
                <a16:creationId xmlns:a16="http://schemas.microsoft.com/office/drawing/2014/main" id="{A9A14828-C285-0341-BF3E-676D5ED573B9}"/>
              </a:ext>
            </a:extLst>
          </p:cNvPr>
          <p:cNvSpPr txBox="1"/>
          <p:nvPr/>
        </p:nvSpPr>
        <p:spPr>
          <a:xfrm>
            <a:off x="1054020" y="2371245"/>
            <a:ext cx="1897091" cy="3400931"/>
          </a:xfrm>
          <a:prstGeom prst="rect">
            <a:avLst/>
          </a:prstGeom>
          <a:noFill/>
          <a:ln cap="rnd">
            <a:noFill/>
          </a:ln>
        </p:spPr>
        <p:txBody>
          <a:bodyPr vert="horz" wrap="square" lIns="0" tIns="0" rIns="0" bIns="0" rtlCol="0" anchor="t" anchorCtr="0">
            <a:spAutoFit/>
          </a:bodyPr>
          <a:lstStyle/>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Healthcare worker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sidents or patients in Long-term care (LTC), senior housing</a:t>
            </a:r>
            <a:b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b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r LTC-supported independent living</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Workers critical to pandemic response continuity</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9" name="ee4pHeader1">
            <a:extLst>
              <a:ext uri="{FF2B5EF4-FFF2-40B4-BE49-F238E27FC236}">
                <a16:creationId xmlns:a16="http://schemas.microsoft.com/office/drawing/2014/main" id="{8F66E531-E078-2549-B008-23341C41D02F}"/>
              </a:ext>
            </a:extLst>
          </p:cNvPr>
          <p:cNvSpPr txBox="1"/>
          <p:nvPr/>
        </p:nvSpPr>
        <p:spPr>
          <a:xfrm>
            <a:off x="8104935" y="2266748"/>
            <a:ext cx="1864934" cy="1831271"/>
          </a:xfrm>
          <a:prstGeom prst="rect">
            <a:avLst/>
          </a:prstGeom>
          <a:noFill/>
          <a:ln cap="rnd">
            <a:noFill/>
          </a:ln>
        </p:spPr>
        <p:txBody>
          <a:bodyPr vert="horz" wrap="square" lIns="0" tIns="0" rIns="0" bIns="0" rtlCol="0" anchor="t" anchorCtr="0">
            <a:spAutoFit/>
          </a:bodyPr>
          <a:lstStyle>
            <a:defPPr>
              <a:defRPr lang="en-US"/>
            </a:defPPr>
            <a:lvl1pPr marL="114300" indent="-114300">
              <a:buClr>
                <a:schemeClr val="accent3"/>
              </a:buClr>
              <a:buSzPct val="100000"/>
              <a:buFont typeface="Arial" panose="020B0604020202020204" pitchFamily="34" charset="0"/>
              <a:buChar char="•"/>
              <a:defRPr>
                <a:solidFill>
                  <a:schemeClr val="bg1"/>
                </a:solidFill>
                <a:latin typeface="Calibri" panose="020F0502020204030204" pitchFamily="34" charset="0"/>
                <a:cs typeface="Calibri" panose="020F0502020204030204" pitchFamily="34" charset="0"/>
              </a:defRPr>
            </a:lvl1pPr>
          </a:lstStyle>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ged 16-64 with other medical risk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lang="en-US" sz="1700" dirty="0">
              <a:solidFill>
                <a:prstClr val="white"/>
              </a:solidFill>
            </a:endParaRPr>
          </a:p>
          <a:p>
            <a:pPr lvl="0">
              <a:buClr>
                <a:srgbClr val="EDAE1D"/>
              </a:buClr>
              <a:defRPr/>
            </a:pPr>
            <a:r>
              <a:rPr lang="en-US" sz="1700" dirty="0">
                <a:solidFill>
                  <a:prstClr val="white"/>
                </a:solidFill>
              </a:rPr>
              <a:t>All unvaccinated persons prioritized in previous phase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0" name="ee4pHeader1">
            <a:extLst>
              <a:ext uri="{FF2B5EF4-FFF2-40B4-BE49-F238E27FC236}">
                <a16:creationId xmlns:a16="http://schemas.microsoft.com/office/drawing/2014/main" id="{0CD58162-DB31-CE42-9D70-A42B9FC8A100}"/>
              </a:ext>
            </a:extLst>
          </p:cNvPr>
          <p:cNvSpPr txBox="1"/>
          <p:nvPr/>
        </p:nvSpPr>
        <p:spPr>
          <a:xfrm>
            <a:off x="10328430" y="2291818"/>
            <a:ext cx="1746027" cy="2354491"/>
          </a:xfrm>
          <a:prstGeom prst="rect">
            <a:avLst/>
          </a:prstGeom>
          <a:noFill/>
          <a:ln cap="rnd">
            <a:noFill/>
          </a:ln>
        </p:spPr>
        <p:txBody>
          <a:bodyPr vert="horz" wrap="square" lIns="0" tIns="0" rIns="0" bIns="0" rtlCol="0" anchor="t" anchorCtr="0">
            <a:spAutoFit/>
          </a:bodyPr>
          <a:lstStyle>
            <a:defPPr>
              <a:defRPr lang="en-US"/>
            </a:defPPr>
            <a:lvl1pPr marL="114300" indent="-114300">
              <a:buClr>
                <a:schemeClr val="accent3"/>
              </a:buClr>
              <a:buSzPct val="100000"/>
              <a:buFont typeface="Arial" panose="020B0604020202020204" pitchFamily="34" charset="0"/>
              <a:buChar char="•"/>
              <a:defRPr>
                <a:solidFill>
                  <a:schemeClr val="bg1"/>
                </a:solidFill>
                <a:latin typeface="Calibri" panose="020F0502020204030204" pitchFamily="34" charset="0"/>
                <a:cs typeface="Calibri" panose="020F0502020204030204" pitchFamily="34" charset="0"/>
              </a:defRPr>
            </a:lvl1pPr>
          </a:lstStyle>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st of pop. 16+</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hildren*</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lvl="0">
              <a:buClr>
                <a:srgbClr val="EDAE1D"/>
              </a:buClr>
              <a:defRPr/>
            </a:pPr>
            <a:r>
              <a:rPr lang="en-US" sz="1700" dirty="0">
                <a:solidFill>
                  <a:prstClr val="white"/>
                </a:solidFill>
              </a:rPr>
              <a:t>All unvaccinated persons prioritized in previous phase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1" name="ee4pHeader1">
            <a:extLst>
              <a:ext uri="{FF2B5EF4-FFF2-40B4-BE49-F238E27FC236}">
                <a16:creationId xmlns:a16="http://schemas.microsoft.com/office/drawing/2014/main" id="{A2804830-570C-5F4B-A6F5-510D962C1CE1}"/>
              </a:ext>
            </a:extLst>
          </p:cNvPr>
          <p:cNvSpPr txBox="1"/>
          <p:nvPr/>
        </p:nvSpPr>
        <p:spPr>
          <a:xfrm>
            <a:off x="5672361" y="2246292"/>
            <a:ext cx="1985627" cy="2616101"/>
          </a:xfrm>
          <a:prstGeom prst="rect">
            <a:avLst/>
          </a:prstGeom>
          <a:noFill/>
          <a:ln cap="rnd">
            <a:noFill/>
          </a:ln>
        </p:spPr>
        <p:txBody>
          <a:bodyPr vert="horz" wrap="square" lIns="0" tIns="0" rIns="0" bIns="0" rtlCol="0" anchor="t" anchorCtr="0">
            <a:spAutoFit/>
          </a:bodyPr>
          <a:lstStyle>
            <a:defPPr>
              <a:defRPr lang="en-US"/>
            </a:defPPr>
            <a:lvl1pPr marL="114300" indent="-114300">
              <a:buClr>
                <a:schemeClr val="accent3"/>
              </a:buClr>
              <a:buSzPct val="100000"/>
              <a:buFont typeface="Arial" panose="020B0604020202020204" pitchFamily="34" charset="0"/>
              <a:buChar char="•"/>
              <a:defRPr>
                <a:solidFill>
                  <a:schemeClr val="bg1"/>
                </a:solidFill>
                <a:latin typeface="Calibri" panose="020F0502020204030204" pitchFamily="34" charset="0"/>
                <a:cs typeface="Calibri" panose="020F0502020204030204" pitchFamily="34" charset="0"/>
              </a:defRPr>
            </a:lvl1pPr>
          </a:lstStyle>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ged 16-64 with severe medical risk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ther critical worker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lang="en-US" sz="1700" dirty="0">
              <a:solidFill>
                <a:prstClr val="white"/>
              </a:solidFill>
            </a:endParaRPr>
          </a:p>
          <a:p>
            <a:pPr lvl="0">
              <a:buClr>
                <a:srgbClr val="EDAE1D"/>
              </a:buClr>
              <a:defRPr/>
            </a:pPr>
            <a:r>
              <a:rPr lang="en-US" sz="1700" dirty="0">
                <a:solidFill>
                  <a:prstClr val="white"/>
                </a:solidFill>
              </a:rPr>
              <a:t>All unvaccinated persons prioritized in previous phase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2" name="ee4pHeader1">
            <a:extLst>
              <a:ext uri="{FF2B5EF4-FFF2-40B4-BE49-F238E27FC236}">
                <a16:creationId xmlns:a16="http://schemas.microsoft.com/office/drawing/2014/main" id="{BFC490AA-27B7-2340-821F-0DC24DF773A1}"/>
              </a:ext>
            </a:extLst>
          </p:cNvPr>
          <p:cNvSpPr txBox="1"/>
          <p:nvPr/>
        </p:nvSpPr>
        <p:spPr>
          <a:xfrm>
            <a:off x="3361157" y="2288428"/>
            <a:ext cx="1920357" cy="2616101"/>
          </a:xfrm>
          <a:prstGeom prst="rect">
            <a:avLst/>
          </a:prstGeom>
          <a:noFill/>
          <a:ln cap="rnd">
            <a:noFill/>
          </a:ln>
        </p:spPr>
        <p:txBody>
          <a:bodyPr vert="horz" wrap="square" lIns="0" tIns="0" rIns="0" bIns="0" rtlCol="0" anchor="t" anchorCtr="0">
            <a:spAutoFit/>
          </a:bodyPr>
          <a:lstStyle>
            <a:defPPr>
              <a:defRPr lang="en-US"/>
            </a:defPPr>
            <a:lvl1pPr marL="114300" indent="-114300">
              <a:buClr>
                <a:schemeClr val="accent3"/>
              </a:buClr>
              <a:buSzPct val="100000"/>
              <a:buFont typeface="Arial" panose="020B0604020202020204" pitchFamily="34" charset="0"/>
              <a:buChar char="•"/>
              <a:defRPr>
                <a:solidFill>
                  <a:schemeClr val="bg1"/>
                </a:solidFill>
                <a:latin typeface="Calibri" panose="020F0502020204030204" pitchFamily="34" charset="0"/>
                <a:cs typeface="Calibri" panose="020F0502020204030204" pitchFamily="34" charset="0"/>
              </a:defRPr>
            </a:lvl1pPr>
          </a:lstStyle>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ersons Aged 65+</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ongregate setting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High-contact critical workers</a:t>
            </a: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endParaRPr lang="en-US" sz="1700" dirty="0">
              <a:solidFill>
                <a:prstClr val="white"/>
              </a:solidFill>
            </a:endParaRPr>
          </a:p>
          <a:p>
            <a:pPr marL="114300" marR="0" lvl="0" indent="-114300" algn="l" defTabSz="914400" rtl="0" eaLnBrk="1" fontAlgn="auto" latinLnBrk="0" hangingPunct="1">
              <a:lnSpc>
                <a:spcPct val="100000"/>
              </a:lnSpc>
              <a:spcBef>
                <a:spcPts val="0"/>
              </a:spcBef>
              <a:spcAft>
                <a:spcPts val="0"/>
              </a:spcAft>
              <a:buClr>
                <a:srgbClr val="EDAE1D"/>
              </a:buClr>
              <a:buSzPct val="100000"/>
              <a:buFont typeface="Arial" panose="020B0604020202020204" pitchFamily="34" charset="0"/>
              <a:buChar char="•"/>
              <a:tabLst/>
              <a:defRPr/>
            </a:pPr>
            <a:r>
              <a:rPr kumimoji="0" lang="en-US" sz="17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ll unvaccinated persons prioritized in previous phases</a:t>
            </a:r>
          </a:p>
        </p:txBody>
      </p:sp>
      <p:grpSp>
        <p:nvGrpSpPr>
          <p:cNvPr id="67" name="Group 66">
            <a:extLst>
              <a:ext uri="{FF2B5EF4-FFF2-40B4-BE49-F238E27FC236}">
                <a16:creationId xmlns:a16="http://schemas.microsoft.com/office/drawing/2014/main" id="{AE1CB62E-2F6C-574A-8278-26FF3DB773B1}"/>
              </a:ext>
            </a:extLst>
          </p:cNvPr>
          <p:cNvGrpSpPr/>
          <p:nvPr/>
        </p:nvGrpSpPr>
        <p:grpSpPr>
          <a:xfrm>
            <a:off x="2947153" y="1474975"/>
            <a:ext cx="236632" cy="4681775"/>
            <a:chOff x="9779835" y="1377548"/>
            <a:chExt cx="236632" cy="4681775"/>
          </a:xfrm>
        </p:grpSpPr>
        <p:cxnSp>
          <p:nvCxnSpPr>
            <p:cNvPr id="68" name="Straight Connector 67">
              <a:extLst>
                <a:ext uri="{FF2B5EF4-FFF2-40B4-BE49-F238E27FC236}">
                  <a16:creationId xmlns:a16="http://schemas.microsoft.com/office/drawing/2014/main" id="{BEC8768D-C2A2-9848-8035-5E01BDC49B3F}"/>
                </a:ext>
              </a:extLst>
            </p:cNvPr>
            <p:cNvCxnSpPr>
              <a:cxnSpLocks/>
            </p:cNvCxnSpPr>
            <p:nvPr/>
          </p:nvCxnSpPr>
          <p:spPr>
            <a:xfrm>
              <a:off x="9894185" y="1377548"/>
              <a:ext cx="0" cy="4681775"/>
            </a:xfrm>
            <a:prstGeom prst="line">
              <a:avLst/>
            </a:prstGeom>
            <a:ln w="41275" cap="rnd">
              <a:solidFill>
                <a:schemeClr val="accent5">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32B9B86C-D1E8-6144-82EA-85D8A8A70746}"/>
                </a:ext>
              </a:extLst>
            </p:cNvPr>
            <p:cNvSpPr/>
            <p:nvPr/>
          </p:nvSpPr>
          <p:spPr>
            <a:xfrm>
              <a:off x="9779835" y="1678974"/>
              <a:ext cx="236632" cy="23855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70" name="Chevron 69">
              <a:extLst>
                <a:ext uri="{FF2B5EF4-FFF2-40B4-BE49-F238E27FC236}">
                  <a16:creationId xmlns:a16="http://schemas.microsoft.com/office/drawing/2014/main" id="{FF0280D7-DEC0-9643-BBAA-EB8582A5DD9B}"/>
                </a:ext>
              </a:extLst>
            </p:cNvPr>
            <p:cNvSpPr/>
            <p:nvPr/>
          </p:nvSpPr>
          <p:spPr>
            <a:xfrm>
              <a:off x="9844058" y="1702650"/>
              <a:ext cx="149085" cy="184015"/>
            </a:xfrm>
            <a:prstGeom prst="chevron">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sp>
        <p:nvSpPr>
          <p:cNvPr id="82" name="Title 1">
            <a:extLst>
              <a:ext uri="{FF2B5EF4-FFF2-40B4-BE49-F238E27FC236}">
                <a16:creationId xmlns:a16="http://schemas.microsoft.com/office/drawing/2014/main" id="{6BDA825B-CFF1-6843-8F87-A268CE939EC7}"/>
              </a:ext>
            </a:extLst>
          </p:cNvPr>
          <p:cNvSpPr txBox="1">
            <a:spLocks/>
          </p:cNvSpPr>
          <p:nvPr/>
        </p:nvSpPr>
        <p:spPr>
          <a:xfrm rot="16200000">
            <a:off x="4102" y="1295854"/>
            <a:ext cx="1077243" cy="332399"/>
          </a:xfrm>
          <a:prstGeom prst="rect">
            <a:avLst/>
          </a:prstGeom>
        </p:spPr>
        <p:txBody>
          <a:bodyPr vert="horz" wrap="square" lIns="0" tIns="0" rIns="0" bIns="0" rtlCol="0" anchor="b" anchorCtr="0">
            <a:spAutoFit/>
          </a:bodyPr>
          <a:lstStyle>
            <a:lvl1pPr marL="0" indent="0" algn="l" defTabSz="914400" rtl="0" eaLnBrk="1" latinLnBrk="0" hangingPunct="1">
              <a:lnSpc>
                <a:spcPct val="90000"/>
              </a:lnSpc>
              <a:spcBef>
                <a:spcPct val="0"/>
              </a:spcBef>
              <a:spcAft>
                <a:spcPts val="0"/>
              </a:spcAft>
              <a:buNone/>
              <a:defRPr sz="2400" b="0" i="0" u="none" kern="1200" spc="0">
                <a:solidFill>
                  <a:schemeClr val="tx2"/>
                </a:solidFill>
                <a:latin typeface="+mj-lt"/>
                <a:ea typeface="+mj-ea"/>
                <a:cs typeface="+mj-cs"/>
                <a:sym typeface="+mj-lt"/>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EDAE1D"/>
                </a:solidFill>
                <a:effectLst/>
                <a:uLnTx/>
                <a:uFillTx/>
                <a:latin typeface="Calibri"/>
                <a:ea typeface="+mj-ea"/>
                <a:cs typeface="+mj-cs"/>
                <a:sym typeface="+mj-lt"/>
              </a:rPr>
              <a:t>Phase</a:t>
            </a:r>
            <a:endParaRPr kumimoji="0" lang="en-US" sz="2400" b="0" i="0" u="none" strike="noStrike" kern="1200" cap="none" spc="0" normalizeH="0" baseline="0" noProof="0" dirty="0">
              <a:ln>
                <a:noFill/>
              </a:ln>
              <a:solidFill>
                <a:srgbClr val="EDAE1D"/>
              </a:solidFill>
              <a:effectLst/>
              <a:uLnTx/>
              <a:uFillTx/>
              <a:latin typeface="Calibri"/>
              <a:ea typeface="+mj-ea"/>
              <a:cs typeface="+mj-cs"/>
              <a:sym typeface="+mj-lt"/>
            </a:endParaRPr>
          </a:p>
        </p:txBody>
      </p:sp>
      <p:grpSp>
        <p:nvGrpSpPr>
          <p:cNvPr id="96" name="Group 95">
            <a:extLst>
              <a:ext uri="{FF2B5EF4-FFF2-40B4-BE49-F238E27FC236}">
                <a16:creationId xmlns:a16="http://schemas.microsoft.com/office/drawing/2014/main" id="{480B0408-D16E-4F45-98E7-0FB2ABB40A37}"/>
              </a:ext>
            </a:extLst>
          </p:cNvPr>
          <p:cNvGrpSpPr/>
          <p:nvPr/>
        </p:nvGrpSpPr>
        <p:grpSpPr>
          <a:xfrm>
            <a:off x="5337656" y="1474975"/>
            <a:ext cx="236632" cy="4681775"/>
            <a:chOff x="9779835" y="1377548"/>
            <a:chExt cx="236632" cy="4681775"/>
          </a:xfrm>
        </p:grpSpPr>
        <p:cxnSp>
          <p:nvCxnSpPr>
            <p:cNvPr id="97" name="Straight Connector 96">
              <a:extLst>
                <a:ext uri="{FF2B5EF4-FFF2-40B4-BE49-F238E27FC236}">
                  <a16:creationId xmlns:a16="http://schemas.microsoft.com/office/drawing/2014/main" id="{8C7E704B-18B5-C54E-85DA-76D9565B72C0}"/>
                </a:ext>
              </a:extLst>
            </p:cNvPr>
            <p:cNvCxnSpPr>
              <a:cxnSpLocks/>
            </p:cNvCxnSpPr>
            <p:nvPr/>
          </p:nvCxnSpPr>
          <p:spPr>
            <a:xfrm>
              <a:off x="9894185" y="1377548"/>
              <a:ext cx="0" cy="4681775"/>
            </a:xfrm>
            <a:prstGeom prst="line">
              <a:avLst/>
            </a:prstGeom>
            <a:ln w="41275" cap="rnd">
              <a:solidFill>
                <a:schemeClr val="accent5">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B99A805E-BF81-AB4C-B3DF-674225525349}"/>
                </a:ext>
              </a:extLst>
            </p:cNvPr>
            <p:cNvSpPr/>
            <p:nvPr/>
          </p:nvSpPr>
          <p:spPr>
            <a:xfrm>
              <a:off x="9779835" y="1678974"/>
              <a:ext cx="236632" cy="23855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99" name="Chevron 98">
              <a:extLst>
                <a:ext uri="{FF2B5EF4-FFF2-40B4-BE49-F238E27FC236}">
                  <a16:creationId xmlns:a16="http://schemas.microsoft.com/office/drawing/2014/main" id="{E1DAF9BE-9110-684F-A0E7-9F081C3E6F29}"/>
                </a:ext>
              </a:extLst>
            </p:cNvPr>
            <p:cNvSpPr/>
            <p:nvPr/>
          </p:nvSpPr>
          <p:spPr>
            <a:xfrm>
              <a:off x="9844058" y="1702650"/>
              <a:ext cx="149085" cy="184015"/>
            </a:xfrm>
            <a:prstGeom prst="chevron">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grpSp>
        <p:nvGrpSpPr>
          <p:cNvPr id="100" name="Group 99">
            <a:extLst>
              <a:ext uri="{FF2B5EF4-FFF2-40B4-BE49-F238E27FC236}">
                <a16:creationId xmlns:a16="http://schemas.microsoft.com/office/drawing/2014/main" id="{19EE99C6-70A1-BF40-8706-57864FFC3AC6}"/>
              </a:ext>
            </a:extLst>
          </p:cNvPr>
          <p:cNvGrpSpPr/>
          <p:nvPr/>
        </p:nvGrpSpPr>
        <p:grpSpPr>
          <a:xfrm>
            <a:off x="7728158" y="1474975"/>
            <a:ext cx="236632" cy="4681775"/>
            <a:chOff x="9779835" y="1377548"/>
            <a:chExt cx="236632" cy="4681775"/>
          </a:xfrm>
        </p:grpSpPr>
        <p:cxnSp>
          <p:nvCxnSpPr>
            <p:cNvPr id="101" name="Straight Connector 100">
              <a:extLst>
                <a:ext uri="{FF2B5EF4-FFF2-40B4-BE49-F238E27FC236}">
                  <a16:creationId xmlns:a16="http://schemas.microsoft.com/office/drawing/2014/main" id="{C32BEECF-7A89-164E-9D2A-ADBC148ACC65}"/>
                </a:ext>
              </a:extLst>
            </p:cNvPr>
            <p:cNvCxnSpPr>
              <a:cxnSpLocks/>
            </p:cNvCxnSpPr>
            <p:nvPr/>
          </p:nvCxnSpPr>
          <p:spPr>
            <a:xfrm>
              <a:off x="9894185" y="1377548"/>
              <a:ext cx="0" cy="4681775"/>
            </a:xfrm>
            <a:prstGeom prst="line">
              <a:avLst/>
            </a:prstGeom>
            <a:ln w="41275" cap="rnd">
              <a:solidFill>
                <a:schemeClr val="accent5">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4D3030D2-A81E-6A4C-B82C-03F6586A9429}"/>
                </a:ext>
              </a:extLst>
            </p:cNvPr>
            <p:cNvSpPr/>
            <p:nvPr/>
          </p:nvSpPr>
          <p:spPr>
            <a:xfrm>
              <a:off x="9779835" y="1678974"/>
              <a:ext cx="236632" cy="23855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3" name="Chevron 102">
              <a:extLst>
                <a:ext uri="{FF2B5EF4-FFF2-40B4-BE49-F238E27FC236}">
                  <a16:creationId xmlns:a16="http://schemas.microsoft.com/office/drawing/2014/main" id="{7C945A2B-FE26-E743-BA88-932C28D223FB}"/>
                </a:ext>
              </a:extLst>
            </p:cNvPr>
            <p:cNvSpPr/>
            <p:nvPr/>
          </p:nvSpPr>
          <p:spPr>
            <a:xfrm>
              <a:off x="9844058" y="1702650"/>
              <a:ext cx="149085" cy="184015"/>
            </a:xfrm>
            <a:prstGeom prst="chevron">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grpSp>
        <p:nvGrpSpPr>
          <p:cNvPr id="104" name="Group 103">
            <a:extLst>
              <a:ext uri="{FF2B5EF4-FFF2-40B4-BE49-F238E27FC236}">
                <a16:creationId xmlns:a16="http://schemas.microsoft.com/office/drawing/2014/main" id="{C19D5C20-8522-954F-A7F5-AA3240BD06C6}"/>
              </a:ext>
            </a:extLst>
          </p:cNvPr>
          <p:cNvGrpSpPr/>
          <p:nvPr/>
        </p:nvGrpSpPr>
        <p:grpSpPr>
          <a:xfrm>
            <a:off x="9974970" y="1474975"/>
            <a:ext cx="236632" cy="4681775"/>
            <a:chOff x="9779835" y="1377548"/>
            <a:chExt cx="236632" cy="4681775"/>
          </a:xfrm>
        </p:grpSpPr>
        <p:cxnSp>
          <p:nvCxnSpPr>
            <p:cNvPr id="105" name="Straight Connector 104">
              <a:extLst>
                <a:ext uri="{FF2B5EF4-FFF2-40B4-BE49-F238E27FC236}">
                  <a16:creationId xmlns:a16="http://schemas.microsoft.com/office/drawing/2014/main" id="{A63AE652-BA16-B142-A444-539B456E59FE}"/>
                </a:ext>
              </a:extLst>
            </p:cNvPr>
            <p:cNvCxnSpPr>
              <a:cxnSpLocks/>
            </p:cNvCxnSpPr>
            <p:nvPr/>
          </p:nvCxnSpPr>
          <p:spPr>
            <a:xfrm>
              <a:off x="9894185" y="1377548"/>
              <a:ext cx="0" cy="4681775"/>
            </a:xfrm>
            <a:prstGeom prst="line">
              <a:avLst/>
            </a:prstGeom>
            <a:ln w="41275" cap="rnd">
              <a:solidFill>
                <a:schemeClr val="accent5">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FFF5FA88-FBAC-BA4D-90F1-8605AA434713}"/>
                </a:ext>
              </a:extLst>
            </p:cNvPr>
            <p:cNvSpPr/>
            <p:nvPr/>
          </p:nvSpPr>
          <p:spPr>
            <a:xfrm>
              <a:off x="9779835" y="1678974"/>
              <a:ext cx="236632" cy="23855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7" name="Chevron 106">
              <a:extLst>
                <a:ext uri="{FF2B5EF4-FFF2-40B4-BE49-F238E27FC236}">
                  <a16:creationId xmlns:a16="http://schemas.microsoft.com/office/drawing/2014/main" id="{E034BA2F-ED07-AC47-A783-15ABC068491F}"/>
                </a:ext>
              </a:extLst>
            </p:cNvPr>
            <p:cNvSpPr/>
            <p:nvPr/>
          </p:nvSpPr>
          <p:spPr>
            <a:xfrm>
              <a:off x="9844058" y="1702650"/>
              <a:ext cx="149085" cy="184015"/>
            </a:xfrm>
            <a:prstGeom prst="chevron">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sp>
        <p:nvSpPr>
          <p:cNvPr id="44" name="Rectangle 43">
            <a:extLst>
              <a:ext uri="{FF2B5EF4-FFF2-40B4-BE49-F238E27FC236}">
                <a16:creationId xmlns:a16="http://schemas.microsoft.com/office/drawing/2014/main" id="{15056557-178E-A748-B639-B8C812FB98A2}"/>
              </a:ext>
            </a:extLst>
          </p:cNvPr>
          <p:cNvSpPr/>
          <p:nvPr/>
        </p:nvSpPr>
        <p:spPr>
          <a:xfrm>
            <a:off x="0" y="5743288"/>
            <a:ext cx="12188952" cy="185785"/>
          </a:xfrm>
          <a:prstGeom prst="rect">
            <a:avLst/>
          </a:prstGeom>
          <a:solidFill>
            <a:schemeClr val="accent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9324B3EA-FCBF-234B-A7AF-10E3927362D7}"/>
              </a:ext>
            </a:extLst>
          </p:cNvPr>
          <p:cNvSpPr/>
          <p:nvPr/>
        </p:nvSpPr>
        <p:spPr>
          <a:xfrm>
            <a:off x="3048" y="5899091"/>
            <a:ext cx="12188952" cy="946982"/>
          </a:xfrm>
          <a:prstGeom prst="rect">
            <a:avLst/>
          </a:prstGeom>
          <a:solidFill>
            <a:schemeClr val="accent3">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3767736E-A296-F64F-8C00-2D97D0C44842}"/>
              </a:ext>
            </a:extLst>
          </p:cNvPr>
          <p:cNvSpPr/>
          <p:nvPr/>
        </p:nvSpPr>
        <p:spPr>
          <a:xfrm>
            <a:off x="22791" y="6536028"/>
            <a:ext cx="1222591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ubject to further research on Vaccine risks and effectiveness for children; Note: Dates of phases are dependent upon vaccine supply. </a:t>
            </a:r>
          </a:p>
        </p:txBody>
      </p:sp>
      <p:sp>
        <p:nvSpPr>
          <p:cNvPr id="2" name="Oval 1">
            <a:extLst>
              <a:ext uri="{FF2B5EF4-FFF2-40B4-BE49-F238E27FC236}">
                <a16:creationId xmlns:a16="http://schemas.microsoft.com/office/drawing/2014/main" id="{29613490-1CEA-4ECE-A107-C30170ABC248}"/>
              </a:ext>
            </a:extLst>
          </p:cNvPr>
          <p:cNvSpPr/>
          <p:nvPr/>
        </p:nvSpPr>
        <p:spPr>
          <a:xfrm>
            <a:off x="2865069" y="5611074"/>
            <a:ext cx="388495" cy="388495"/>
          </a:xfrm>
          <a:prstGeom prst="ellipse">
            <a:avLst/>
          </a:prstGeom>
          <a:solidFill>
            <a:srgbClr val="EDAE1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6" name="Oval 45">
            <a:extLst>
              <a:ext uri="{FF2B5EF4-FFF2-40B4-BE49-F238E27FC236}">
                <a16:creationId xmlns:a16="http://schemas.microsoft.com/office/drawing/2014/main" id="{D927A1C9-1DA1-468C-B4F3-90A4D842EF10}"/>
              </a:ext>
            </a:extLst>
          </p:cNvPr>
          <p:cNvSpPr/>
          <p:nvPr/>
        </p:nvSpPr>
        <p:spPr>
          <a:xfrm>
            <a:off x="5270481" y="5611074"/>
            <a:ext cx="388495" cy="388495"/>
          </a:xfrm>
          <a:prstGeom prst="ellipse">
            <a:avLst/>
          </a:prstGeom>
          <a:solidFill>
            <a:srgbClr val="EDAE1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51" name="Oval 50">
            <a:extLst>
              <a:ext uri="{FF2B5EF4-FFF2-40B4-BE49-F238E27FC236}">
                <a16:creationId xmlns:a16="http://schemas.microsoft.com/office/drawing/2014/main" id="{E097C585-EE97-4279-950A-0EF7E32CA73E}"/>
              </a:ext>
            </a:extLst>
          </p:cNvPr>
          <p:cNvSpPr/>
          <p:nvPr/>
        </p:nvSpPr>
        <p:spPr>
          <a:xfrm>
            <a:off x="9879278" y="5611074"/>
            <a:ext cx="388495" cy="388495"/>
          </a:xfrm>
          <a:prstGeom prst="ellipse">
            <a:avLst/>
          </a:prstGeom>
          <a:solidFill>
            <a:srgbClr val="EDAE1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5" name="TextBox 4">
            <a:extLst>
              <a:ext uri="{FF2B5EF4-FFF2-40B4-BE49-F238E27FC236}">
                <a16:creationId xmlns:a16="http://schemas.microsoft.com/office/drawing/2014/main" id="{20DB18AA-1E81-4FD1-AE57-B69478E8E29B}"/>
              </a:ext>
            </a:extLst>
          </p:cNvPr>
          <p:cNvSpPr txBox="1"/>
          <p:nvPr/>
        </p:nvSpPr>
        <p:spPr>
          <a:xfrm>
            <a:off x="1888709" y="5969752"/>
            <a:ext cx="2104873" cy="4951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dirty="0">
                <a:solidFill>
                  <a:srgbClr val="051934"/>
                </a:solidFill>
              </a:rPr>
              <a:t>Late January</a:t>
            </a:r>
          </a:p>
        </p:txBody>
      </p:sp>
      <p:sp>
        <p:nvSpPr>
          <p:cNvPr id="53" name="TextBox 52">
            <a:extLst>
              <a:ext uri="{FF2B5EF4-FFF2-40B4-BE49-F238E27FC236}">
                <a16:creationId xmlns:a16="http://schemas.microsoft.com/office/drawing/2014/main" id="{8DBE7674-FD92-410A-935A-E1C196561CF0}"/>
              </a:ext>
            </a:extLst>
          </p:cNvPr>
          <p:cNvSpPr txBox="1"/>
          <p:nvPr/>
        </p:nvSpPr>
        <p:spPr>
          <a:xfrm>
            <a:off x="4486275" y="5969752"/>
            <a:ext cx="1859885" cy="4951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dirty="0">
                <a:solidFill>
                  <a:srgbClr val="051934"/>
                </a:solidFill>
              </a:rPr>
              <a:t>March</a:t>
            </a:r>
          </a:p>
          <a:p>
            <a:pPr algn="ctr"/>
            <a:r>
              <a:rPr lang="en-US" dirty="0">
                <a:solidFill>
                  <a:srgbClr val="051934"/>
                </a:solidFill>
              </a:rPr>
              <a:t>Phases 3 &amp; 4</a:t>
            </a:r>
          </a:p>
        </p:txBody>
      </p:sp>
      <p:sp>
        <p:nvSpPr>
          <p:cNvPr id="55" name="TextBox 54">
            <a:extLst>
              <a:ext uri="{FF2B5EF4-FFF2-40B4-BE49-F238E27FC236}">
                <a16:creationId xmlns:a16="http://schemas.microsoft.com/office/drawing/2014/main" id="{7552FAC0-C1AC-48EA-B095-C7DE22BC13E6}"/>
              </a:ext>
            </a:extLst>
          </p:cNvPr>
          <p:cNvSpPr txBox="1"/>
          <p:nvPr/>
        </p:nvSpPr>
        <p:spPr>
          <a:xfrm>
            <a:off x="9179224" y="5969752"/>
            <a:ext cx="1859885" cy="4951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dirty="0">
                <a:solidFill>
                  <a:srgbClr val="051934"/>
                </a:solidFill>
              </a:rPr>
              <a:t>May</a:t>
            </a:r>
          </a:p>
        </p:txBody>
      </p:sp>
      <p:sp>
        <p:nvSpPr>
          <p:cNvPr id="57" name="Chevron 69">
            <a:extLst>
              <a:ext uri="{FF2B5EF4-FFF2-40B4-BE49-F238E27FC236}">
                <a16:creationId xmlns:a16="http://schemas.microsoft.com/office/drawing/2014/main" id="{C55BFB62-2096-4AA1-A113-E04B3C523C2F}"/>
              </a:ext>
            </a:extLst>
          </p:cNvPr>
          <p:cNvSpPr/>
          <p:nvPr/>
        </p:nvSpPr>
        <p:spPr>
          <a:xfrm>
            <a:off x="2984774" y="5713314"/>
            <a:ext cx="149085" cy="184015"/>
          </a:xfrm>
          <a:prstGeom prst="chevron">
            <a:avLst/>
          </a:prstGeom>
          <a:solidFill>
            <a:srgbClr val="05193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58" name="Chevron 69">
            <a:extLst>
              <a:ext uri="{FF2B5EF4-FFF2-40B4-BE49-F238E27FC236}">
                <a16:creationId xmlns:a16="http://schemas.microsoft.com/office/drawing/2014/main" id="{F98E3EAE-BA1D-4D57-8F12-254A3B4FCEC1}"/>
              </a:ext>
            </a:extLst>
          </p:cNvPr>
          <p:cNvSpPr/>
          <p:nvPr/>
        </p:nvSpPr>
        <p:spPr>
          <a:xfrm>
            <a:off x="5390186" y="5713314"/>
            <a:ext cx="149085" cy="184015"/>
          </a:xfrm>
          <a:prstGeom prst="chevron">
            <a:avLst/>
          </a:prstGeom>
          <a:solidFill>
            <a:srgbClr val="05193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60" name="Chevron 69">
            <a:extLst>
              <a:ext uri="{FF2B5EF4-FFF2-40B4-BE49-F238E27FC236}">
                <a16:creationId xmlns:a16="http://schemas.microsoft.com/office/drawing/2014/main" id="{8A1334A3-B7CD-46AF-85D7-73174F74063D}"/>
              </a:ext>
            </a:extLst>
          </p:cNvPr>
          <p:cNvSpPr/>
          <p:nvPr/>
        </p:nvSpPr>
        <p:spPr>
          <a:xfrm>
            <a:off x="10020249" y="5713314"/>
            <a:ext cx="149085" cy="184015"/>
          </a:xfrm>
          <a:prstGeom prst="chevron">
            <a:avLst/>
          </a:prstGeom>
          <a:solidFill>
            <a:srgbClr val="05193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70234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341A29-4A29-40A2-8DDA-383BDA2AE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4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D0341A29-4A29-40A2-8DDA-383BDA2AE8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EBAFB2-B9BD-4CA9-81FB-A3395967C3B5}"/>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2764202"/>
            <a:ext cx="2820160" cy="2055221"/>
          </a:xfrm>
        </p:spPr>
        <p:txBody>
          <a:bodyPr/>
          <a:lstStyle/>
          <a:p>
            <a:r>
              <a:rPr lang="en-US" sz="2400" dirty="0"/>
              <a:t>KDHE adopted federal recommendations to assess exposure risks associated with workplaces and living arrangements</a:t>
            </a:r>
          </a:p>
        </p:txBody>
      </p:sp>
      <p:sp>
        <p:nvSpPr>
          <p:cNvPr id="5" name="TextBox 4">
            <a:extLst>
              <a:ext uri="{FF2B5EF4-FFF2-40B4-BE49-F238E27FC236}">
                <a16:creationId xmlns:a16="http://schemas.microsoft.com/office/drawing/2014/main" id="{31CAF2B1-F2E1-43D3-B60D-9520B492E584}"/>
              </a:ext>
            </a:extLst>
          </p:cNvPr>
          <p:cNvSpPr txBox="1"/>
          <p:nvPr/>
        </p:nvSpPr>
        <p:spPr>
          <a:xfrm>
            <a:off x="5279010" y="849615"/>
            <a:ext cx="6551039"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lang="en-US" sz="2000" dirty="0">
                <a:solidFill>
                  <a:srgbClr val="000000"/>
                </a:solidFill>
                <a:latin typeface="Calibri" panose="020F0502020204030204" pitchFamily="34" charset="0"/>
              </a:rPr>
              <a:t>Federal guidelines</a:t>
            </a:r>
            <a:r>
              <a:rPr lang="en-US" sz="2000" baseline="30000" dirty="0">
                <a:solidFill>
                  <a:srgbClr val="000000"/>
                </a:solidFill>
                <a:latin typeface="Calibri" panose="020F0502020204030204" pitchFamily="34" charset="0"/>
              </a:rPr>
              <a:t>1</a:t>
            </a:r>
            <a:r>
              <a:rPr lang="en-US" sz="2000" dirty="0">
                <a:solidFill>
                  <a:srgbClr val="000000"/>
                </a:solidFill>
                <a:latin typeface="Calibri" panose="020F0502020204030204" pitchFamily="34" charset="0"/>
              </a:rPr>
              <a:t> consider the number and nature of contacts required by different occupations</a:t>
            </a:r>
          </a:p>
        </p:txBody>
      </p:sp>
      <p:cxnSp>
        <p:nvCxnSpPr>
          <p:cNvPr id="15" name="Straight Connector 14"/>
          <p:cNvCxnSpPr/>
          <p:nvPr/>
        </p:nvCxnSpPr>
        <p:spPr>
          <a:xfrm>
            <a:off x="4397829" y="1611756"/>
            <a:ext cx="7432221" cy="0"/>
          </a:xfrm>
          <a:prstGeom prst="line">
            <a:avLst/>
          </a:prstGeom>
          <a:ln w="19050" cap="rnd" cmpd="sng" algn="ctr">
            <a:solidFill>
              <a:srgbClr val="05193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397828" y="3181478"/>
            <a:ext cx="743222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397828" y="4106318"/>
            <a:ext cx="743222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397828" y="5031158"/>
            <a:ext cx="743222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6C1F17C-1168-45A3-9923-F369DA447ABD}"/>
              </a:ext>
            </a:extLst>
          </p:cNvPr>
          <p:cNvGrpSpPr/>
          <p:nvPr/>
        </p:nvGrpSpPr>
        <p:grpSpPr>
          <a:xfrm>
            <a:off x="4404039" y="2341459"/>
            <a:ext cx="7426009" cy="755198"/>
            <a:chOff x="4404039" y="2341459"/>
            <a:chExt cx="7426009" cy="755198"/>
          </a:xfrm>
        </p:grpSpPr>
        <p:sp>
          <p:nvSpPr>
            <p:cNvPr id="6" name="Rectangle 5">
              <a:extLst>
                <a:ext uri="{FF2B5EF4-FFF2-40B4-BE49-F238E27FC236}">
                  <a16:creationId xmlns:a16="http://schemas.microsoft.com/office/drawing/2014/main" id="{52FB42B6-D20B-4475-9A7F-C2C1022D3ED6}"/>
                </a:ext>
              </a:extLst>
            </p:cNvPr>
            <p:cNvSpPr/>
            <p:nvPr/>
          </p:nvSpPr>
          <p:spPr>
            <a:xfrm>
              <a:off x="5279011" y="2595949"/>
              <a:ext cx="2190529" cy="246221"/>
            </a:xfrm>
            <a:prstGeom prst="rect">
              <a:avLst/>
            </a:prstGeom>
          </p:spPr>
          <p:txBody>
            <a:bodyPr wrap="square" lIns="0" tIns="0" rIns="0" bIns="0">
              <a:spAutoFit/>
            </a:bodyPr>
            <a:lstStyle/>
            <a:p>
              <a:pPr>
                <a:buSzPct val="100000"/>
                <a:buFont typeface="Trebuchet MS" panose="020B0603020202020204" pitchFamily="34" charset="0"/>
                <a:buChar char="​"/>
              </a:pPr>
              <a:r>
                <a:rPr lang="en-US" sz="1600" b="1" dirty="0">
                  <a:solidFill>
                    <a:srgbClr val="000000"/>
                  </a:solidFill>
                  <a:latin typeface="Calibri" panose="020F0502020204030204" pitchFamily="34" charset="0"/>
                  <a:cs typeface="Calibri" panose="020F0502020204030204" pitchFamily="34" charset="0"/>
                </a:rPr>
                <a:t>Proximity</a:t>
              </a:r>
              <a:endParaRPr lang="en-US" sz="1600" b="1" dirty="0">
                <a:solidFill>
                  <a:srgbClr val="000000">
                    <a:lumMod val="100000"/>
                  </a:srgbClr>
                </a:solidFill>
                <a:latin typeface="Calibri" panose="020F0502020204030204" pitchFamily="34" charset="0"/>
              </a:endParaRPr>
            </a:p>
          </p:txBody>
        </p:sp>
        <p:sp>
          <p:nvSpPr>
            <p:cNvPr id="7" name="Rectangle 6">
              <a:extLst>
                <a:ext uri="{FF2B5EF4-FFF2-40B4-BE49-F238E27FC236}">
                  <a16:creationId xmlns:a16="http://schemas.microsoft.com/office/drawing/2014/main" id="{BFCB72AD-FEE7-42AA-BC5F-979559866BF0}"/>
                </a:ext>
              </a:extLst>
            </p:cNvPr>
            <p:cNvSpPr/>
            <p:nvPr/>
          </p:nvSpPr>
          <p:spPr>
            <a:xfrm>
              <a:off x="8229599" y="2472837"/>
              <a:ext cx="3600449" cy="492443"/>
            </a:xfrm>
            <a:prstGeom prst="rect">
              <a:avLst/>
            </a:prstGeom>
          </p:spPr>
          <p:txBody>
            <a:bodyPr wrap="square" lIns="0" tIns="0" rIns="0" bIns="0">
              <a:spAutoFit/>
            </a:bodyPr>
            <a:lstStyle/>
            <a:p>
              <a:pPr>
                <a:buSzPct val="100000"/>
                <a:buFont typeface="Trebuchet MS" panose="020B0603020202020204" pitchFamily="34" charset="0"/>
                <a:buChar char="​"/>
              </a:pPr>
              <a:r>
                <a:rPr lang="en-US" sz="1600" dirty="0">
                  <a:solidFill>
                    <a:srgbClr val="000000"/>
                  </a:solidFill>
                  <a:latin typeface="Calibri" panose="020F0502020204030204" pitchFamily="34" charset="0"/>
                  <a:cs typeface="Calibri" panose="020F0502020204030204" pitchFamily="34" charset="0"/>
                </a:rPr>
                <a:t>Residents and staff are less than 6ft away from one another</a:t>
              </a:r>
            </a:p>
          </p:txBody>
        </p:sp>
        <p:grpSp>
          <p:nvGrpSpPr>
            <p:cNvPr id="17" name="Group 16">
              <a:extLst>
                <a:ext uri="{FF2B5EF4-FFF2-40B4-BE49-F238E27FC236}">
                  <a16:creationId xmlns:a16="http://schemas.microsoft.com/office/drawing/2014/main" id="{8D37D99A-11CD-4666-BA9B-07F2C54E3BA5}"/>
                </a:ext>
              </a:extLst>
            </p:cNvPr>
            <p:cNvGrpSpPr>
              <a:grpSpLocks noChangeAspect="1"/>
            </p:cNvGrpSpPr>
            <p:nvPr/>
          </p:nvGrpSpPr>
          <p:grpSpPr>
            <a:xfrm>
              <a:off x="7696114" y="2565604"/>
              <a:ext cx="306910" cy="306910"/>
              <a:chOff x="982662" y="1847850"/>
              <a:chExt cx="269875" cy="269875"/>
            </a:xfrm>
          </p:grpSpPr>
          <p:sp>
            <p:nvSpPr>
              <p:cNvPr id="18" name="Oval 50">
                <a:extLst>
                  <a:ext uri="{FF2B5EF4-FFF2-40B4-BE49-F238E27FC236}">
                    <a16:creationId xmlns:a16="http://schemas.microsoft.com/office/drawing/2014/main" id="{AF8B8F3D-8281-4C4D-9646-0C74BE7EB9B0}"/>
                  </a:ext>
                </a:extLst>
              </p:cNvPr>
              <p:cNvSpPr>
                <a:spLocks noChangeArrowheads="1"/>
              </p:cNvSpPr>
              <p:nvPr/>
            </p:nvSpPr>
            <p:spPr bwMode="auto">
              <a:xfrm>
                <a:off x="982662" y="1847850"/>
                <a:ext cx="269875" cy="269875"/>
              </a:xfrm>
              <a:prstGeom prst="ellipse">
                <a:avLst/>
              </a:prstGeom>
              <a:solidFill>
                <a:srgbClr val="051934">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51">
                <a:extLst>
                  <a:ext uri="{FF2B5EF4-FFF2-40B4-BE49-F238E27FC236}">
                    <a16:creationId xmlns:a16="http://schemas.microsoft.com/office/drawing/2014/main" id="{1FA00367-C290-4D92-8654-14F380B3717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3" name="Group 42"/>
            <p:cNvGrpSpPr>
              <a:grpSpLocks noChangeAspect="1"/>
            </p:cNvGrpSpPr>
            <p:nvPr/>
          </p:nvGrpSpPr>
          <p:grpSpPr>
            <a:xfrm>
              <a:off x="4404039" y="2341459"/>
              <a:ext cx="755198" cy="755198"/>
              <a:chOff x="5273675" y="2570163"/>
              <a:chExt cx="1644650" cy="1644650"/>
            </a:xfrm>
          </p:grpSpPr>
          <p:sp>
            <p:nvSpPr>
              <p:cNvPr id="44" name="AutoShape 3"/>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p:cNvGrpSpPr/>
              <p:nvPr/>
            </p:nvGrpSpPr>
            <p:grpSpPr>
              <a:xfrm>
                <a:off x="5548313" y="2844801"/>
                <a:ext cx="1093788" cy="1093788"/>
                <a:chOff x="5548313" y="2844801"/>
                <a:chExt cx="1093788" cy="1093788"/>
              </a:xfrm>
            </p:grpSpPr>
            <p:sp>
              <p:nvSpPr>
                <p:cNvPr id="46" name="Freeform 45"/>
                <p:cNvSpPr>
                  <a:spLocks/>
                </p:cNvSpPr>
                <p:nvPr/>
              </p:nvSpPr>
              <p:spPr bwMode="auto">
                <a:xfrm>
                  <a:off x="5548313" y="2844801"/>
                  <a:ext cx="1093788" cy="1093788"/>
                </a:xfrm>
                <a:custGeom>
                  <a:avLst/>
                  <a:gdLst>
                    <a:gd name="connsiteX0" fmla="*/ 546894 w 1093788"/>
                    <a:gd name="connsiteY0" fmla="*/ 352425 h 1093788"/>
                    <a:gd name="connsiteX1" fmla="*/ 562623 w 1093788"/>
                    <a:gd name="connsiteY1" fmla="*/ 368154 h 1093788"/>
                    <a:gd name="connsiteX2" fmla="*/ 546894 w 1093788"/>
                    <a:gd name="connsiteY2" fmla="*/ 383883 h 1093788"/>
                    <a:gd name="connsiteX3" fmla="*/ 383883 w 1093788"/>
                    <a:gd name="connsiteY3" fmla="*/ 546894 h 1093788"/>
                    <a:gd name="connsiteX4" fmla="*/ 546894 w 1093788"/>
                    <a:gd name="connsiteY4" fmla="*/ 709905 h 1093788"/>
                    <a:gd name="connsiteX5" fmla="*/ 709905 w 1093788"/>
                    <a:gd name="connsiteY5" fmla="*/ 546894 h 1093788"/>
                    <a:gd name="connsiteX6" fmla="*/ 725634 w 1093788"/>
                    <a:gd name="connsiteY6" fmla="*/ 531165 h 1093788"/>
                    <a:gd name="connsiteX7" fmla="*/ 741363 w 1093788"/>
                    <a:gd name="connsiteY7" fmla="*/ 546894 h 1093788"/>
                    <a:gd name="connsiteX8" fmla="*/ 546894 w 1093788"/>
                    <a:gd name="connsiteY8" fmla="*/ 741363 h 1093788"/>
                    <a:gd name="connsiteX9" fmla="*/ 352425 w 1093788"/>
                    <a:gd name="connsiteY9" fmla="*/ 546894 h 1093788"/>
                    <a:gd name="connsiteX10" fmla="*/ 546894 w 1093788"/>
                    <a:gd name="connsiteY10" fmla="*/ 352425 h 1093788"/>
                    <a:gd name="connsiteX11" fmla="*/ 546894 w 1093788"/>
                    <a:gd name="connsiteY11" fmla="*/ 0 h 1093788"/>
                    <a:gd name="connsiteX12" fmla="*/ 995976 w 1093788"/>
                    <a:gd name="connsiteY12" fmla="*/ 234179 h 1093788"/>
                    <a:gd name="connsiteX13" fmla="*/ 991692 w 1093788"/>
                    <a:gd name="connsiteY13" fmla="*/ 256312 h 1093788"/>
                    <a:gd name="connsiteX14" fmla="*/ 969559 w 1093788"/>
                    <a:gd name="connsiteY14" fmla="*/ 252028 h 1093788"/>
                    <a:gd name="connsiteX15" fmla="*/ 546894 w 1093788"/>
                    <a:gd name="connsiteY15" fmla="*/ 31414 h 1093788"/>
                    <a:gd name="connsiteX16" fmla="*/ 31414 w 1093788"/>
                    <a:gd name="connsiteY16" fmla="*/ 546894 h 1093788"/>
                    <a:gd name="connsiteX17" fmla="*/ 204907 w 1093788"/>
                    <a:gd name="connsiteY17" fmla="*/ 931719 h 1093788"/>
                    <a:gd name="connsiteX18" fmla="*/ 257026 w 1093788"/>
                    <a:gd name="connsiteY18" fmla="*/ 874602 h 1093788"/>
                    <a:gd name="connsiteX19" fmla="*/ 189913 w 1093788"/>
                    <a:gd name="connsiteY19" fmla="*/ 800350 h 1093788"/>
                    <a:gd name="connsiteX20" fmla="*/ 194197 w 1093788"/>
                    <a:gd name="connsiteY20" fmla="*/ 778217 h 1093788"/>
                    <a:gd name="connsiteX21" fmla="*/ 215616 w 1093788"/>
                    <a:gd name="connsiteY21" fmla="*/ 781787 h 1093788"/>
                    <a:gd name="connsiteX22" fmla="*/ 370546 w 1093788"/>
                    <a:gd name="connsiteY22" fmla="*/ 912442 h 1093788"/>
                    <a:gd name="connsiteX23" fmla="*/ 912442 w 1093788"/>
                    <a:gd name="connsiteY23" fmla="*/ 723242 h 1093788"/>
                    <a:gd name="connsiteX24" fmla="*/ 723243 w 1093788"/>
                    <a:gd name="connsiteY24" fmla="*/ 181346 h 1093788"/>
                    <a:gd name="connsiteX25" fmla="*/ 562601 w 1093788"/>
                    <a:gd name="connsiteY25" fmla="*/ 141364 h 1093788"/>
                    <a:gd name="connsiteX26" fmla="*/ 562601 w 1093788"/>
                    <a:gd name="connsiteY26" fmla="*/ 227753 h 1093788"/>
                    <a:gd name="connsiteX27" fmla="*/ 866035 w 1093788"/>
                    <a:gd name="connsiteY27" fmla="*/ 546894 h 1093788"/>
                    <a:gd name="connsiteX28" fmla="*/ 739664 w 1093788"/>
                    <a:gd name="connsiteY28" fmla="*/ 801778 h 1093788"/>
                    <a:gd name="connsiteX29" fmla="*/ 717531 w 1093788"/>
                    <a:gd name="connsiteY29" fmla="*/ 798208 h 1093788"/>
                    <a:gd name="connsiteX30" fmla="*/ 721101 w 1093788"/>
                    <a:gd name="connsiteY30" fmla="*/ 776790 h 1093788"/>
                    <a:gd name="connsiteX31" fmla="*/ 834620 w 1093788"/>
                    <a:gd name="connsiteY31" fmla="*/ 546894 h 1093788"/>
                    <a:gd name="connsiteX32" fmla="*/ 546894 w 1093788"/>
                    <a:gd name="connsiteY32" fmla="*/ 259168 h 1093788"/>
                    <a:gd name="connsiteX33" fmla="*/ 259168 w 1093788"/>
                    <a:gd name="connsiteY33" fmla="*/ 546894 h 1093788"/>
                    <a:gd name="connsiteX34" fmla="*/ 546894 w 1093788"/>
                    <a:gd name="connsiteY34" fmla="*/ 834620 h 1093788"/>
                    <a:gd name="connsiteX35" fmla="*/ 562601 w 1093788"/>
                    <a:gd name="connsiteY35" fmla="*/ 850328 h 1093788"/>
                    <a:gd name="connsiteX36" fmla="*/ 546894 w 1093788"/>
                    <a:gd name="connsiteY36" fmla="*/ 866035 h 1093788"/>
                    <a:gd name="connsiteX37" fmla="*/ 227753 w 1093788"/>
                    <a:gd name="connsiteY37" fmla="*/ 546894 h 1093788"/>
                    <a:gd name="connsiteX38" fmla="*/ 531187 w 1093788"/>
                    <a:gd name="connsiteY38" fmla="*/ 227753 h 1093788"/>
                    <a:gd name="connsiteX39" fmla="*/ 531187 w 1093788"/>
                    <a:gd name="connsiteY39" fmla="*/ 141364 h 1093788"/>
                    <a:gd name="connsiteX40" fmla="*/ 181346 w 1093788"/>
                    <a:gd name="connsiteY40" fmla="*/ 370546 h 1093788"/>
                    <a:gd name="connsiteX41" fmla="*/ 143506 w 1093788"/>
                    <a:gd name="connsiteY41" fmla="*/ 590446 h 1093788"/>
                    <a:gd name="connsiteX42" fmla="*/ 129227 w 1093788"/>
                    <a:gd name="connsiteY42" fmla="*/ 607581 h 1093788"/>
                    <a:gd name="connsiteX43" fmla="*/ 112092 w 1093788"/>
                    <a:gd name="connsiteY43" fmla="*/ 593302 h 1093788"/>
                    <a:gd name="connsiteX44" fmla="*/ 153501 w 1093788"/>
                    <a:gd name="connsiteY44" fmla="*/ 356267 h 1093788"/>
                    <a:gd name="connsiteX45" fmla="*/ 545466 w 1093788"/>
                    <a:gd name="connsiteY45" fmla="*/ 109950 h 1093788"/>
                    <a:gd name="connsiteX46" fmla="*/ 546894 w 1093788"/>
                    <a:gd name="connsiteY46" fmla="*/ 109236 h 1093788"/>
                    <a:gd name="connsiteX47" fmla="*/ 547608 w 1093788"/>
                    <a:gd name="connsiteY47" fmla="*/ 109950 h 1093788"/>
                    <a:gd name="connsiteX48" fmla="*/ 737522 w 1093788"/>
                    <a:gd name="connsiteY48" fmla="*/ 153501 h 1093788"/>
                    <a:gd name="connsiteX49" fmla="*/ 940287 w 1093788"/>
                    <a:gd name="connsiteY49" fmla="*/ 737522 h 1093788"/>
                    <a:gd name="connsiteX50" fmla="*/ 546180 w 1093788"/>
                    <a:gd name="connsiteY50" fmla="*/ 983838 h 1093788"/>
                    <a:gd name="connsiteX51" fmla="*/ 356267 w 1093788"/>
                    <a:gd name="connsiteY51" fmla="*/ 940287 h 1093788"/>
                    <a:gd name="connsiteX52" fmla="*/ 281300 w 1093788"/>
                    <a:gd name="connsiteY52" fmla="*/ 894593 h 1093788"/>
                    <a:gd name="connsiteX53" fmla="*/ 228467 w 1093788"/>
                    <a:gd name="connsiteY53" fmla="*/ 952424 h 1093788"/>
                    <a:gd name="connsiteX54" fmla="*/ 546894 w 1093788"/>
                    <a:gd name="connsiteY54" fmla="*/ 1062374 h 1093788"/>
                    <a:gd name="connsiteX55" fmla="*/ 1062374 w 1093788"/>
                    <a:gd name="connsiteY55" fmla="*/ 546894 h 1093788"/>
                    <a:gd name="connsiteX56" fmla="*/ 1046667 w 1093788"/>
                    <a:gd name="connsiteY56" fmla="*/ 419095 h 1093788"/>
                    <a:gd name="connsiteX57" fmla="*/ 1058090 w 1093788"/>
                    <a:gd name="connsiteY57" fmla="*/ 399818 h 1093788"/>
                    <a:gd name="connsiteX58" fmla="*/ 1076653 w 1093788"/>
                    <a:gd name="connsiteY58" fmla="*/ 411242 h 1093788"/>
                    <a:gd name="connsiteX59" fmla="*/ 1093788 w 1093788"/>
                    <a:gd name="connsiteY59" fmla="*/ 546894 h 1093788"/>
                    <a:gd name="connsiteX60" fmla="*/ 546894 w 1093788"/>
                    <a:gd name="connsiteY60" fmla="*/ 1093788 h 1093788"/>
                    <a:gd name="connsiteX61" fmla="*/ 197767 w 1093788"/>
                    <a:gd name="connsiteY61" fmla="*/ 967417 h 1093788"/>
                    <a:gd name="connsiteX62" fmla="*/ 194911 w 1093788"/>
                    <a:gd name="connsiteY62" fmla="*/ 965989 h 1093788"/>
                    <a:gd name="connsiteX63" fmla="*/ 194197 w 1093788"/>
                    <a:gd name="connsiteY63" fmla="*/ 964561 h 1093788"/>
                    <a:gd name="connsiteX64" fmla="*/ 0 w 1093788"/>
                    <a:gd name="connsiteY64" fmla="*/ 546894 h 1093788"/>
                    <a:gd name="connsiteX65" fmla="*/ 546894 w 1093788"/>
                    <a:gd name="connsiteY65" fmla="*/ 0 h 10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93788" h="1093788">
                      <a:moveTo>
                        <a:pt x="546894" y="352425"/>
                      </a:moveTo>
                      <a:cubicBezTo>
                        <a:pt x="555474" y="352425"/>
                        <a:pt x="562623" y="359575"/>
                        <a:pt x="562623" y="368154"/>
                      </a:cubicBezTo>
                      <a:cubicBezTo>
                        <a:pt x="562623" y="376734"/>
                        <a:pt x="555474" y="383883"/>
                        <a:pt x="546894" y="383883"/>
                      </a:cubicBezTo>
                      <a:cubicBezTo>
                        <a:pt x="456809" y="383883"/>
                        <a:pt x="383883" y="456809"/>
                        <a:pt x="383883" y="546894"/>
                      </a:cubicBezTo>
                      <a:cubicBezTo>
                        <a:pt x="383883" y="636979"/>
                        <a:pt x="456809" y="709905"/>
                        <a:pt x="546894" y="709905"/>
                      </a:cubicBezTo>
                      <a:cubicBezTo>
                        <a:pt x="636979" y="709905"/>
                        <a:pt x="709905" y="636979"/>
                        <a:pt x="709905" y="546894"/>
                      </a:cubicBezTo>
                      <a:cubicBezTo>
                        <a:pt x="709905" y="538315"/>
                        <a:pt x="717055" y="531165"/>
                        <a:pt x="725634" y="531165"/>
                      </a:cubicBezTo>
                      <a:cubicBezTo>
                        <a:pt x="734214" y="531165"/>
                        <a:pt x="741363" y="538315"/>
                        <a:pt x="741363" y="546894"/>
                      </a:cubicBezTo>
                      <a:cubicBezTo>
                        <a:pt x="741363" y="654138"/>
                        <a:pt x="654138" y="741363"/>
                        <a:pt x="546894" y="741363"/>
                      </a:cubicBezTo>
                      <a:cubicBezTo>
                        <a:pt x="439650" y="741363"/>
                        <a:pt x="352425" y="654138"/>
                        <a:pt x="352425" y="546894"/>
                      </a:cubicBezTo>
                      <a:cubicBezTo>
                        <a:pt x="352425" y="439650"/>
                        <a:pt x="439650" y="352425"/>
                        <a:pt x="546894" y="352425"/>
                      </a:cubicBezTo>
                      <a:close/>
                      <a:moveTo>
                        <a:pt x="546894" y="0"/>
                      </a:moveTo>
                      <a:cubicBezTo>
                        <a:pt x="725384" y="0"/>
                        <a:pt x="893165" y="87817"/>
                        <a:pt x="995976" y="234179"/>
                      </a:cubicBezTo>
                      <a:cubicBezTo>
                        <a:pt x="1000259" y="241319"/>
                        <a:pt x="998831" y="251314"/>
                        <a:pt x="991692" y="256312"/>
                      </a:cubicBezTo>
                      <a:cubicBezTo>
                        <a:pt x="984552" y="261310"/>
                        <a:pt x="974557" y="259168"/>
                        <a:pt x="969559" y="252028"/>
                      </a:cubicBezTo>
                      <a:cubicBezTo>
                        <a:pt x="873174" y="114234"/>
                        <a:pt x="715389" y="31414"/>
                        <a:pt x="546894" y="31414"/>
                      </a:cubicBezTo>
                      <a:cubicBezTo>
                        <a:pt x="262737" y="31414"/>
                        <a:pt x="31414" y="262737"/>
                        <a:pt x="31414" y="546894"/>
                      </a:cubicBezTo>
                      <a:cubicBezTo>
                        <a:pt x="31414" y="699682"/>
                        <a:pt x="98526" y="837476"/>
                        <a:pt x="204907" y="931719"/>
                      </a:cubicBezTo>
                      <a:cubicBezTo>
                        <a:pt x="204907" y="931719"/>
                        <a:pt x="204907" y="931719"/>
                        <a:pt x="257026" y="874602"/>
                      </a:cubicBezTo>
                      <a:cubicBezTo>
                        <a:pt x="232037" y="852469"/>
                        <a:pt x="209904" y="827481"/>
                        <a:pt x="189913" y="800350"/>
                      </a:cubicBezTo>
                      <a:cubicBezTo>
                        <a:pt x="184916" y="793211"/>
                        <a:pt x="187057" y="783215"/>
                        <a:pt x="194197" y="778217"/>
                      </a:cubicBezTo>
                      <a:cubicBezTo>
                        <a:pt x="201337" y="773220"/>
                        <a:pt x="210618" y="774648"/>
                        <a:pt x="215616" y="781787"/>
                      </a:cubicBezTo>
                      <a:cubicBezTo>
                        <a:pt x="254884" y="837476"/>
                        <a:pt x="308431" y="882456"/>
                        <a:pt x="370546" y="912442"/>
                      </a:cubicBezTo>
                      <a:cubicBezTo>
                        <a:pt x="571883" y="1009541"/>
                        <a:pt x="814630" y="925293"/>
                        <a:pt x="912442" y="723242"/>
                      </a:cubicBezTo>
                      <a:cubicBezTo>
                        <a:pt x="1009541" y="521906"/>
                        <a:pt x="925293" y="279159"/>
                        <a:pt x="723243" y="181346"/>
                      </a:cubicBezTo>
                      <a:cubicBezTo>
                        <a:pt x="671837" y="156357"/>
                        <a:pt x="616862" y="143506"/>
                        <a:pt x="562601" y="141364"/>
                      </a:cubicBezTo>
                      <a:cubicBezTo>
                        <a:pt x="562601" y="141364"/>
                        <a:pt x="562601" y="141364"/>
                        <a:pt x="562601" y="227753"/>
                      </a:cubicBezTo>
                      <a:cubicBezTo>
                        <a:pt x="731810" y="236321"/>
                        <a:pt x="866035" y="376258"/>
                        <a:pt x="866035" y="546894"/>
                      </a:cubicBezTo>
                      <a:cubicBezTo>
                        <a:pt x="866035" y="647563"/>
                        <a:pt x="820341" y="740378"/>
                        <a:pt x="739664" y="801778"/>
                      </a:cubicBezTo>
                      <a:cubicBezTo>
                        <a:pt x="733238" y="806776"/>
                        <a:pt x="723243" y="805348"/>
                        <a:pt x="717531" y="798208"/>
                      </a:cubicBezTo>
                      <a:cubicBezTo>
                        <a:pt x="712533" y="791783"/>
                        <a:pt x="713961" y="781787"/>
                        <a:pt x="721101" y="776790"/>
                      </a:cubicBezTo>
                      <a:cubicBezTo>
                        <a:pt x="793211" y="721101"/>
                        <a:pt x="834620" y="637567"/>
                        <a:pt x="834620" y="546894"/>
                      </a:cubicBezTo>
                      <a:cubicBezTo>
                        <a:pt x="834620" y="388395"/>
                        <a:pt x="705394" y="259168"/>
                        <a:pt x="546894" y="259168"/>
                      </a:cubicBezTo>
                      <a:cubicBezTo>
                        <a:pt x="388395" y="259168"/>
                        <a:pt x="259168" y="388395"/>
                        <a:pt x="259168" y="546894"/>
                      </a:cubicBezTo>
                      <a:cubicBezTo>
                        <a:pt x="259168" y="705393"/>
                        <a:pt x="388395" y="834620"/>
                        <a:pt x="546894" y="834620"/>
                      </a:cubicBezTo>
                      <a:cubicBezTo>
                        <a:pt x="555462" y="834620"/>
                        <a:pt x="562601" y="841760"/>
                        <a:pt x="562601" y="850328"/>
                      </a:cubicBezTo>
                      <a:cubicBezTo>
                        <a:pt x="562601" y="859609"/>
                        <a:pt x="555462" y="866035"/>
                        <a:pt x="546894" y="866035"/>
                      </a:cubicBezTo>
                      <a:cubicBezTo>
                        <a:pt x="370546" y="866035"/>
                        <a:pt x="227753" y="723242"/>
                        <a:pt x="227753" y="546894"/>
                      </a:cubicBezTo>
                      <a:cubicBezTo>
                        <a:pt x="227753" y="376258"/>
                        <a:pt x="361978" y="236321"/>
                        <a:pt x="531187" y="227753"/>
                      </a:cubicBezTo>
                      <a:cubicBezTo>
                        <a:pt x="531187" y="227753"/>
                        <a:pt x="531187" y="227753"/>
                        <a:pt x="531187" y="141364"/>
                      </a:cubicBezTo>
                      <a:cubicBezTo>
                        <a:pt x="386253" y="147076"/>
                        <a:pt x="249172" y="230609"/>
                        <a:pt x="181346" y="370546"/>
                      </a:cubicBezTo>
                      <a:cubicBezTo>
                        <a:pt x="148504" y="439086"/>
                        <a:pt x="134938" y="514766"/>
                        <a:pt x="143506" y="590446"/>
                      </a:cubicBezTo>
                      <a:cubicBezTo>
                        <a:pt x="144220" y="599013"/>
                        <a:pt x="137794" y="606153"/>
                        <a:pt x="129227" y="607581"/>
                      </a:cubicBezTo>
                      <a:cubicBezTo>
                        <a:pt x="120659" y="608295"/>
                        <a:pt x="112806" y="601869"/>
                        <a:pt x="112092" y="593302"/>
                      </a:cubicBezTo>
                      <a:cubicBezTo>
                        <a:pt x="103524" y="512624"/>
                        <a:pt x="117803" y="430519"/>
                        <a:pt x="153501" y="356267"/>
                      </a:cubicBezTo>
                      <a:cubicBezTo>
                        <a:pt x="228467" y="201337"/>
                        <a:pt x="384111" y="110664"/>
                        <a:pt x="545466" y="109950"/>
                      </a:cubicBezTo>
                      <a:cubicBezTo>
                        <a:pt x="546180" y="109950"/>
                        <a:pt x="546180" y="109236"/>
                        <a:pt x="546894" y="109236"/>
                      </a:cubicBezTo>
                      <a:cubicBezTo>
                        <a:pt x="546894" y="109236"/>
                        <a:pt x="547608" y="109950"/>
                        <a:pt x="547608" y="109950"/>
                      </a:cubicBezTo>
                      <a:cubicBezTo>
                        <a:pt x="611151" y="109950"/>
                        <a:pt x="676121" y="123515"/>
                        <a:pt x="737522" y="153501"/>
                      </a:cubicBezTo>
                      <a:cubicBezTo>
                        <a:pt x="954566" y="258454"/>
                        <a:pt x="1045239" y="520478"/>
                        <a:pt x="940287" y="737522"/>
                      </a:cubicBezTo>
                      <a:cubicBezTo>
                        <a:pt x="865321" y="893165"/>
                        <a:pt x="708963" y="983838"/>
                        <a:pt x="546180" y="983838"/>
                      </a:cubicBezTo>
                      <a:cubicBezTo>
                        <a:pt x="482638" y="983838"/>
                        <a:pt x="417667" y="970273"/>
                        <a:pt x="356267" y="940287"/>
                      </a:cubicBezTo>
                      <a:cubicBezTo>
                        <a:pt x="329850" y="927435"/>
                        <a:pt x="304861" y="912442"/>
                        <a:pt x="281300" y="894593"/>
                      </a:cubicBezTo>
                      <a:cubicBezTo>
                        <a:pt x="281300" y="894593"/>
                        <a:pt x="281300" y="894593"/>
                        <a:pt x="228467" y="952424"/>
                      </a:cubicBezTo>
                      <a:cubicBezTo>
                        <a:pt x="316284" y="1020964"/>
                        <a:pt x="426949" y="1062374"/>
                        <a:pt x="546894" y="1062374"/>
                      </a:cubicBezTo>
                      <a:cubicBezTo>
                        <a:pt x="831051" y="1062374"/>
                        <a:pt x="1062374" y="831051"/>
                        <a:pt x="1062374" y="546894"/>
                      </a:cubicBezTo>
                      <a:cubicBezTo>
                        <a:pt x="1062374" y="503343"/>
                        <a:pt x="1056662" y="460505"/>
                        <a:pt x="1046667" y="419095"/>
                      </a:cubicBezTo>
                      <a:cubicBezTo>
                        <a:pt x="1044525" y="410528"/>
                        <a:pt x="1049523" y="401960"/>
                        <a:pt x="1058090" y="399818"/>
                      </a:cubicBezTo>
                      <a:cubicBezTo>
                        <a:pt x="1065944" y="397676"/>
                        <a:pt x="1074511" y="402674"/>
                        <a:pt x="1076653" y="411242"/>
                      </a:cubicBezTo>
                      <a:cubicBezTo>
                        <a:pt x="1088077" y="455507"/>
                        <a:pt x="1093788" y="501201"/>
                        <a:pt x="1093788" y="546894"/>
                      </a:cubicBezTo>
                      <a:cubicBezTo>
                        <a:pt x="1093788" y="848186"/>
                        <a:pt x="848186" y="1093788"/>
                        <a:pt x="546894" y="1093788"/>
                      </a:cubicBezTo>
                      <a:cubicBezTo>
                        <a:pt x="414098" y="1093788"/>
                        <a:pt x="292724" y="1046667"/>
                        <a:pt x="197767" y="967417"/>
                      </a:cubicBezTo>
                      <a:cubicBezTo>
                        <a:pt x="197053" y="967417"/>
                        <a:pt x="196339" y="966703"/>
                        <a:pt x="194911" y="965989"/>
                      </a:cubicBezTo>
                      <a:cubicBezTo>
                        <a:pt x="194911" y="965275"/>
                        <a:pt x="194197" y="964561"/>
                        <a:pt x="194197" y="964561"/>
                      </a:cubicBezTo>
                      <a:cubicBezTo>
                        <a:pt x="75680" y="863893"/>
                        <a:pt x="0" y="713961"/>
                        <a:pt x="0" y="546894"/>
                      </a:cubicBezTo>
                      <a:cubicBezTo>
                        <a:pt x="0" y="245602"/>
                        <a:pt x="245602" y="0"/>
                        <a:pt x="546894" y="0"/>
                      </a:cubicBezTo>
                      <a:close/>
                    </a:path>
                  </a:pathLst>
                </a:custGeom>
                <a:solidFill>
                  <a:srgbClr val="051934">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7" name="Oval 7"/>
                <p:cNvSpPr>
                  <a:spLocks noChangeArrowheads="1"/>
                </p:cNvSpPr>
                <p:nvPr/>
              </p:nvSpPr>
              <p:spPr bwMode="auto">
                <a:xfrm>
                  <a:off x="6015038" y="3311526"/>
                  <a:ext cx="160338" cy="160338"/>
                </a:xfrm>
                <a:prstGeom prst="ellipse">
                  <a:avLst/>
                </a:prstGeom>
                <a:solidFill>
                  <a:srgbClr val="0A3774">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1" name="Group 30">
            <a:extLst>
              <a:ext uri="{FF2B5EF4-FFF2-40B4-BE49-F238E27FC236}">
                <a16:creationId xmlns:a16="http://schemas.microsoft.com/office/drawing/2014/main" id="{4EC63169-480E-45DD-A9B2-5786F490D5C9}"/>
              </a:ext>
            </a:extLst>
          </p:cNvPr>
          <p:cNvGrpSpPr/>
          <p:nvPr/>
        </p:nvGrpSpPr>
        <p:grpSpPr>
          <a:xfrm>
            <a:off x="4404039" y="3266299"/>
            <a:ext cx="7426009" cy="755198"/>
            <a:chOff x="4404039" y="3171390"/>
            <a:chExt cx="7426009" cy="755198"/>
          </a:xfrm>
        </p:grpSpPr>
        <p:sp>
          <p:nvSpPr>
            <p:cNvPr id="8" name="Rectangle 7">
              <a:extLst>
                <a:ext uri="{FF2B5EF4-FFF2-40B4-BE49-F238E27FC236}">
                  <a16:creationId xmlns:a16="http://schemas.microsoft.com/office/drawing/2014/main" id="{F965E89D-FF56-4550-B40C-54EB9EF99C47}"/>
                </a:ext>
              </a:extLst>
            </p:cNvPr>
            <p:cNvSpPr/>
            <p:nvPr/>
          </p:nvSpPr>
          <p:spPr>
            <a:xfrm>
              <a:off x="5279011" y="3425878"/>
              <a:ext cx="2190529" cy="246221"/>
            </a:xfrm>
            <a:prstGeom prst="rect">
              <a:avLst/>
            </a:prstGeom>
          </p:spPr>
          <p:txBody>
            <a:bodyPr wrap="square" lIns="0" tIns="0" rIns="0" bIns="0">
              <a:spAutoFit/>
            </a:bodyPr>
            <a:lstStyle/>
            <a:p>
              <a:pPr>
                <a:buSzPct val="100000"/>
                <a:buFont typeface="Trebuchet MS" panose="020B0603020202020204" pitchFamily="34" charset="0"/>
                <a:buChar char="​"/>
              </a:pPr>
              <a:r>
                <a:rPr lang="en-US" sz="1600" b="1" dirty="0">
                  <a:solidFill>
                    <a:srgbClr val="000000"/>
                  </a:solidFill>
                  <a:latin typeface="Calibri" panose="020F0502020204030204" pitchFamily="34" charset="0"/>
                  <a:cs typeface="Calibri" panose="020F0502020204030204" pitchFamily="34" charset="0"/>
                </a:rPr>
                <a:t>Type of contact</a:t>
              </a:r>
              <a:endParaRPr lang="en-US" sz="1600" b="1" dirty="0">
                <a:solidFill>
                  <a:srgbClr val="000000">
                    <a:lumMod val="100000"/>
                  </a:srgbClr>
                </a:solidFill>
                <a:latin typeface="Calibri" panose="020F0502020204030204" pitchFamily="34" charset="0"/>
              </a:endParaRPr>
            </a:p>
          </p:txBody>
        </p:sp>
        <p:sp>
          <p:nvSpPr>
            <p:cNvPr id="11" name="Rectangle 10">
              <a:extLst>
                <a:ext uri="{FF2B5EF4-FFF2-40B4-BE49-F238E27FC236}">
                  <a16:creationId xmlns:a16="http://schemas.microsoft.com/office/drawing/2014/main" id="{C5C0070F-479B-4514-90F5-88A9218CA7E0}"/>
                </a:ext>
              </a:extLst>
            </p:cNvPr>
            <p:cNvSpPr/>
            <p:nvPr/>
          </p:nvSpPr>
          <p:spPr>
            <a:xfrm>
              <a:off x="8229599" y="3302767"/>
              <a:ext cx="3600449" cy="492443"/>
            </a:xfrm>
            <a:prstGeom prst="rect">
              <a:avLst/>
            </a:prstGeom>
          </p:spPr>
          <p:txBody>
            <a:bodyPr wrap="square" lIns="0" tIns="0" rIns="0" bIns="0">
              <a:spAutoFit/>
            </a:bodyPr>
            <a:lstStyle/>
            <a:p>
              <a:pPr>
                <a:buSzPct val="100000"/>
                <a:buFont typeface="Trebuchet MS" panose="020B0603020202020204" pitchFamily="34" charset="0"/>
                <a:buChar char="​"/>
              </a:pPr>
              <a:r>
                <a:rPr lang="en-US" sz="1600" dirty="0">
                  <a:solidFill>
                    <a:srgbClr val="000000"/>
                  </a:solidFill>
                  <a:latin typeface="Calibri" panose="020F0502020204030204" pitchFamily="34" charset="0"/>
                  <a:cs typeface="Calibri" panose="020F0502020204030204" pitchFamily="34" charset="0"/>
                </a:rPr>
                <a:t>Exposure to droplets, shared surfaces, common items</a:t>
              </a:r>
            </a:p>
          </p:txBody>
        </p:sp>
        <p:grpSp>
          <p:nvGrpSpPr>
            <p:cNvPr id="20" name="Group 19">
              <a:extLst>
                <a:ext uri="{FF2B5EF4-FFF2-40B4-BE49-F238E27FC236}">
                  <a16:creationId xmlns:a16="http://schemas.microsoft.com/office/drawing/2014/main" id="{BA2AF982-0948-49B0-963A-3E3519F1DBC2}"/>
                </a:ext>
              </a:extLst>
            </p:cNvPr>
            <p:cNvGrpSpPr>
              <a:grpSpLocks noChangeAspect="1"/>
            </p:cNvGrpSpPr>
            <p:nvPr/>
          </p:nvGrpSpPr>
          <p:grpSpPr>
            <a:xfrm>
              <a:off x="7696114" y="3395534"/>
              <a:ext cx="306910" cy="306910"/>
              <a:chOff x="982662" y="1847850"/>
              <a:chExt cx="269875" cy="269875"/>
            </a:xfrm>
          </p:grpSpPr>
          <p:sp>
            <p:nvSpPr>
              <p:cNvPr id="21" name="Oval 50">
                <a:extLst>
                  <a:ext uri="{FF2B5EF4-FFF2-40B4-BE49-F238E27FC236}">
                    <a16:creationId xmlns:a16="http://schemas.microsoft.com/office/drawing/2014/main" id="{C9C24667-E031-4A9B-8707-85156B764892}"/>
                  </a:ext>
                </a:extLst>
              </p:cNvPr>
              <p:cNvSpPr>
                <a:spLocks noChangeArrowheads="1"/>
              </p:cNvSpPr>
              <p:nvPr/>
            </p:nvSpPr>
            <p:spPr bwMode="auto">
              <a:xfrm>
                <a:off x="982662" y="1847850"/>
                <a:ext cx="269875" cy="269875"/>
              </a:xfrm>
              <a:prstGeom prst="ellipse">
                <a:avLst/>
              </a:prstGeom>
              <a:solidFill>
                <a:srgbClr val="051934">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2" name="Freeform 51">
                <a:extLst>
                  <a:ext uri="{FF2B5EF4-FFF2-40B4-BE49-F238E27FC236}">
                    <a16:creationId xmlns:a16="http://schemas.microsoft.com/office/drawing/2014/main" id="{DA347234-4692-4425-BDA0-AC138B082CD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8" name="Group 47"/>
            <p:cNvGrpSpPr>
              <a:grpSpLocks noChangeAspect="1"/>
            </p:cNvGrpSpPr>
            <p:nvPr/>
          </p:nvGrpSpPr>
          <p:grpSpPr>
            <a:xfrm>
              <a:off x="4404039" y="3171390"/>
              <a:ext cx="755201" cy="755198"/>
              <a:chOff x="8156575" y="-1843088"/>
              <a:chExt cx="6848475" cy="6858001"/>
            </a:xfrm>
          </p:grpSpPr>
          <p:sp>
            <p:nvSpPr>
              <p:cNvPr id="49" name="AutoShape 59"/>
              <p:cNvSpPr>
                <a:spLocks noChangeAspect="1" noChangeArrowheads="1" noTextEdit="1"/>
              </p:cNvSpPr>
              <p:nvPr/>
            </p:nvSpPr>
            <p:spPr bwMode="auto">
              <a:xfrm>
                <a:off x="8156575" y="-1843088"/>
                <a:ext cx="6848475"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61"/>
              <p:cNvSpPr>
                <a:spLocks noEditPoints="1"/>
              </p:cNvSpPr>
              <p:nvPr/>
            </p:nvSpPr>
            <p:spPr bwMode="auto">
              <a:xfrm>
                <a:off x="8602664" y="920749"/>
                <a:ext cx="5635625" cy="2935290"/>
              </a:xfrm>
              <a:custGeom>
                <a:avLst/>
                <a:gdLst>
                  <a:gd name="T0" fmla="*/ 634 w 1896"/>
                  <a:gd name="T1" fmla="*/ 740 h 987"/>
                  <a:gd name="T2" fmla="*/ 634 w 1896"/>
                  <a:gd name="T3" fmla="*/ 910 h 987"/>
                  <a:gd name="T4" fmla="*/ 623 w 1896"/>
                  <a:gd name="T5" fmla="*/ 929 h 987"/>
                  <a:gd name="T6" fmla="*/ 350 w 1896"/>
                  <a:gd name="T7" fmla="*/ 987 h 987"/>
                  <a:gd name="T8" fmla="*/ 323 w 1896"/>
                  <a:gd name="T9" fmla="*/ 987 h 987"/>
                  <a:gd name="T10" fmla="*/ 302 w 1896"/>
                  <a:gd name="T11" fmla="*/ 965 h 987"/>
                  <a:gd name="T12" fmla="*/ 302 w 1896"/>
                  <a:gd name="T13" fmla="*/ 805 h 987"/>
                  <a:gd name="T14" fmla="*/ 238 w 1896"/>
                  <a:gd name="T15" fmla="*/ 808 h 987"/>
                  <a:gd name="T16" fmla="*/ 120 w 1896"/>
                  <a:gd name="T17" fmla="*/ 786 h 987"/>
                  <a:gd name="T18" fmla="*/ 99 w 1896"/>
                  <a:gd name="T19" fmla="*/ 663 h 987"/>
                  <a:gd name="T20" fmla="*/ 100 w 1896"/>
                  <a:gd name="T21" fmla="*/ 598 h 987"/>
                  <a:gd name="T22" fmla="*/ 13 w 1896"/>
                  <a:gd name="T23" fmla="*/ 555 h 987"/>
                  <a:gd name="T24" fmla="*/ 49 w 1896"/>
                  <a:gd name="T25" fmla="*/ 475 h 987"/>
                  <a:gd name="T26" fmla="*/ 89 w 1896"/>
                  <a:gd name="T27" fmla="*/ 411 h 987"/>
                  <a:gd name="T28" fmla="*/ 93 w 1896"/>
                  <a:gd name="T29" fmla="*/ 353 h 987"/>
                  <a:gd name="T30" fmla="*/ 95 w 1896"/>
                  <a:gd name="T31" fmla="*/ 315 h 987"/>
                  <a:gd name="T32" fmla="*/ 99 w 1896"/>
                  <a:gd name="T33" fmla="*/ 283 h 987"/>
                  <a:gd name="T34" fmla="*/ 138 w 1896"/>
                  <a:gd name="T35" fmla="*/ 320 h 987"/>
                  <a:gd name="T36" fmla="*/ 137 w 1896"/>
                  <a:gd name="T37" fmla="*/ 354 h 987"/>
                  <a:gd name="T38" fmla="*/ 129 w 1896"/>
                  <a:gd name="T39" fmla="*/ 428 h 987"/>
                  <a:gd name="T40" fmla="*/ 80 w 1896"/>
                  <a:gd name="T41" fmla="*/ 506 h 987"/>
                  <a:gd name="T42" fmla="*/ 56 w 1896"/>
                  <a:gd name="T43" fmla="*/ 540 h 987"/>
                  <a:gd name="T44" fmla="*/ 121 w 1896"/>
                  <a:gd name="T45" fmla="*/ 554 h 987"/>
                  <a:gd name="T46" fmla="*/ 139 w 1896"/>
                  <a:gd name="T47" fmla="*/ 560 h 987"/>
                  <a:gd name="T48" fmla="*/ 146 w 1896"/>
                  <a:gd name="T49" fmla="*/ 577 h 987"/>
                  <a:gd name="T50" fmla="*/ 152 w 1896"/>
                  <a:gd name="T51" fmla="*/ 755 h 987"/>
                  <a:gd name="T52" fmla="*/ 319 w 1896"/>
                  <a:gd name="T53" fmla="*/ 759 h 987"/>
                  <a:gd name="T54" fmla="*/ 336 w 1896"/>
                  <a:gd name="T55" fmla="*/ 762 h 987"/>
                  <a:gd name="T56" fmla="*/ 346 w 1896"/>
                  <a:gd name="T57" fmla="*/ 781 h 987"/>
                  <a:gd name="T58" fmla="*/ 346 w 1896"/>
                  <a:gd name="T59" fmla="*/ 943 h 987"/>
                  <a:gd name="T60" fmla="*/ 590 w 1896"/>
                  <a:gd name="T61" fmla="*/ 898 h 987"/>
                  <a:gd name="T62" fmla="*/ 590 w 1896"/>
                  <a:gd name="T63" fmla="*/ 765 h 987"/>
                  <a:gd name="T64" fmla="*/ 634 w 1896"/>
                  <a:gd name="T65" fmla="*/ 740 h 987"/>
                  <a:gd name="T66" fmla="*/ 1895 w 1896"/>
                  <a:gd name="T67" fmla="*/ 179 h 987"/>
                  <a:gd name="T68" fmla="*/ 1861 w 1896"/>
                  <a:gd name="T69" fmla="*/ 254 h 987"/>
                  <a:gd name="T70" fmla="*/ 1861 w 1896"/>
                  <a:gd name="T71" fmla="*/ 254 h 987"/>
                  <a:gd name="T72" fmla="*/ 1650 w 1896"/>
                  <a:gd name="T73" fmla="*/ 414 h 987"/>
                  <a:gd name="T74" fmla="*/ 1645 w 1896"/>
                  <a:gd name="T75" fmla="*/ 405 h 987"/>
                  <a:gd name="T76" fmla="*/ 1685 w 1896"/>
                  <a:gd name="T77" fmla="*/ 366 h 987"/>
                  <a:gd name="T78" fmla="*/ 1426 w 1896"/>
                  <a:gd name="T79" fmla="*/ 442 h 987"/>
                  <a:gd name="T80" fmla="*/ 1420 w 1896"/>
                  <a:gd name="T81" fmla="*/ 722 h 987"/>
                  <a:gd name="T82" fmla="*/ 1237 w 1896"/>
                  <a:gd name="T83" fmla="*/ 193 h 987"/>
                  <a:gd name="T84" fmla="*/ 1602 w 1896"/>
                  <a:gd name="T85" fmla="*/ 11 h 987"/>
                  <a:gd name="T86" fmla="*/ 1895 w 1896"/>
                  <a:gd name="T87" fmla="*/ 173 h 987"/>
                  <a:gd name="T88" fmla="*/ 1895 w 1896"/>
                  <a:gd name="T89" fmla="*/ 179 h 987"/>
                  <a:gd name="T90" fmla="*/ 1895 w 1896"/>
                  <a:gd name="T91" fmla="*/ 179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96" h="987">
                    <a:moveTo>
                      <a:pt x="634" y="740"/>
                    </a:moveTo>
                    <a:cubicBezTo>
                      <a:pt x="634" y="910"/>
                      <a:pt x="634" y="910"/>
                      <a:pt x="634" y="910"/>
                    </a:cubicBezTo>
                    <a:cubicBezTo>
                      <a:pt x="634" y="918"/>
                      <a:pt x="630" y="925"/>
                      <a:pt x="623" y="929"/>
                    </a:cubicBezTo>
                    <a:cubicBezTo>
                      <a:pt x="538" y="981"/>
                      <a:pt x="406" y="987"/>
                      <a:pt x="350" y="987"/>
                    </a:cubicBezTo>
                    <a:cubicBezTo>
                      <a:pt x="335" y="987"/>
                      <a:pt x="325" y="987"/>
                      <a:pt x="323" y="987"/>
                    </a:cubicBezTo>
                    <a:cubicBezTo>
                      <a:pt x="311" y="986"/>
                      <a:pt x="302" y="976"/>
                      <a:pt x="302" y="965"/>
                    </a:cubicBezTo>
                    <a:cubicBezTo>
                      <a:pt x="302" y="805"/>
                      <a:pt x="302" y="805"/>
                      <a:pt x="302" y="805"/>
                    </a:cubicBezTo>
                    <a:cubicBezTo>
                      <a:pt x="280" y="807"/>
                      <a:pt x="252" y="808"/>
                      <a:pt x="238" y="808"/>
                    </a:cubicBezTo>
                    <a:cubicBezTo>
                      <a:pt x="154" y="808"/>
                      <a:pt x="131" y="796"/>
                      <a:pt x="120" y="786"/>
                    </a:cubicBezTo>
                    <a:cubicBezTo>
                      <a:pt x="109" y="774"/>
                      <a:pt x="98" y="751"/>
                      <a:pt x="99" y="663"/>
                    </a:cubicBezTo>
                    <a:cubicBezTo>
                      <a:pt x="99" y="639"/>
                      <a:pt x="99" y="615"/>
                      <a:pt x="100" y="598"/>
                    </a:cubicBezTo>
                    <a:cubicBezTo>
                      <a:pt x="46" y="597"/>
                      <a:pt x="20" y="571"/>
                      <a:pt x="13" y="555"/>
                    </a:cubicBezTo>
                    <a:cubicBezTo>
                      <a:pt x="0" y="525"/>
                      <a:pt x="44" y="480"/>
                      <a:pt x="49" y="475"/>
                    </a:cubicBezTo>
                    <a:cubicBezTo>
                      <a:pt x="66" y="458"/>
                      <a:pt x="81" y="431"/>
                      <a:pt x="89" y="411"/>
                    </a:cubicBezTo>
                    <a:cubicBezTo>
                      <a:pt x="92" y="403"/>
                      <a:pt x="92" y="372"/>
                      <a:pt x="93" y="353"/>
                    </a:cubicBezTo>
                    <a:cubicBezTo>
                      <a:pt x="93" y="339"/>
                      <a:pt x="94" y="325"/>
                      <a:pt x="95" y="315"/>
                    </a:cubicBezTo>
                    <a:cubicBezTo>
                      <a:pt x="95" y="306"/>
                      <a:pt x="97" y="294"/>
                      <a:pt x="99" y="283"/>
                    </a:cubicBezTo>
                    <a:cubicBezTo>
                      <a:pt x="110" y="295"/>
                      <a:pt x="123" y="308"/>
                      <a:pt x="138" y="320"/>
                    </a:cubicBezTo>
                    <a:cubicBezTo>
                      <a:pt x="138" y="329"/>
                      <a:pt x="137" y="341"/>
                      <a:pt x="137" y="354"/>
                    </a:cubicBezTo>
                    <a:cubicBezTo>
                      <a:pt x="136" y="391"/>
                      <a:pt x="135" y="414"/>
                      <a:pt x="129" y="428"/>
                    </a:cubicBezTo>
                    <a:cubicBezTo>
                      <a:pt x="125" y="439"/>
                      <a:pt x="107" y="478"/>
                      <a:pt x="80" y="506"/>
                    </a:cubicBezTo>
                    <a:cubicBezTo>
                      <a:pt x="66" y="520"/>
                      <a:pt x="58" y="533"/>
                      <a:pt x="56" y="540"/>
                    </a:cubicBezTo>
                    <a:cubicBezTo>
                      <a:pt x="63" y="547"/>
                      <a:pt x="83" y="558"/>
                      <a:pt x="121" y="554"/>
                    </a:cubicBezTo>
                    <a:cubicBezTo>
                      <a:pt x="128" y="553"/>
                      <a:pt x="134" y="555"/>
                      <a:pt x="139" y="560"/>
                    </a:cubicBezTo>
                    <a:cubicBezTo>
                      <a:pt x="144" y="564"/>
                      <a:pt x="146" y="571"/>
                      <a:pt x="146" y="577"/>
                    </a:cubicBezTo>
                    <a:cubicBezTo>
                      <a:pt x="139" y="659"/>
                      <a:pt x="142" y="740"/>
                      <a:pt x="152" y="755"/>
                    </a:cubicBezTo>
                    <a:cubicBezTo>
                      <a:pt x="172" y="769"/>
                      <a:pt x="294" y="763"/>
                      <a:pt x="319" y="759"/>
                    </a:cubicBezTo>
                    <a:cubicBezTo>
                      <a:pt x="325" y="758"/>
                      <a:pt x="331" y="759"/>
                      <a:pt x="336" y="762"/>
                    </a:cubicBezTo>
                    <a:cubicBezTo>
                      <a:pt x="343" y="766"/>
                      <a:pt x="346" y="773"/>
                      <a:pt x="346" y="781"/>
                    </a:cubicBezTo>
                    <a:cubicBezTo>
                      <a:pt x="346" y="943"/>
                      <a:pt x="346" y="943"/>
                      <a:pt x="346" y="943"/>
                    </a:cubicBezTo>
                    <a:cubicBezTo>
                      <a:pt x="393" y="943"/>
                      <a:pt x="512" y="939"/>
                      <a:pt x="590" y="898"/>
                    </a:cubicBezTo>
                    <a:cubicBezTo>
                      <a:pt x="590" y="765"/>
                      <a:pt x="590" y="765"/>
                      <a:pt x="590" y="765"/>
                    </a:cubicBezTo>
                    <a:cubicBezTo>
                      <a:pt x="600" y="762"/>
                      <a:pt x="614" y="756"/>
                      <a:pt x="634" y="740"/>
                    </a:cubicBezTo>
                    <a:close/>
                    <a:moveTo>
                      <a:pt x="1895" y="179"/>
                    </a:moveTo>
                    <a:cubicBezTo>
                      <a:pt x="1893" y="206"/>
                      <a:pt x="1881" y="231"/>
                      <a:pt x="1861" y="254"/>
                    </a:cubicBezTo>
                    <a:cubicBezTo>
                      <a:pt x="1861" y="254"/>
                      <a:pt x="1861" y="254"/>
                      <a:pt x="1861" y="254"/>
                    </a:cubicBezTo>
                    <a:cubicBezTo>
                      <a:pt x="1829" y="298"/>
                      <a:pt x="1713" y="381"/>
                      <a:pt x="1650" y="414"/>
                    </a:cubicBezTo>
                    <a:cubicBezTo>
                      <a:pt x="1644" y="416"/>
                      <a:pt x="1640" y="409"/>
                      <a:pt x="1645" y="405"/>
                    </a:cubicBezTo>
                    <a:cubicBezTo>
                      <a:pt x="1664" y="390"/>
                      <a:pt x="1677" y="377"/>
                      <a:pt x="1685" y="366"/>
                    </a:cubicBezTo>
                    <a:cubicBezTo>
                      <a:pt x="1560" y="417"/>
                      <a:pt x="1426" y="442"/>
                      <a:pt x="1426" y="442"/>
                    </a:cubicBezTo>
                    <a:cubicBezTo>
                      <a:pt x="1313" y="554"/>
                      <a:pt x="1454" y="707"/>
                      <a:pt x="1420" y="722"/>
                    </a:cubicBezTo>
                    <a:cubicBezTo>
                      <a:pt x="1396" y="733"/>
                      <a:pt x="1095" y="467"/>
                      <a:pt x="1237" y="193"/>
                    </a:cubicBezTo>
                    <a:cubicBezTo>
                      <a:pt x="1288" y="94"/>
                      <a:pt x="1412" y="0"/>
                      <a:pt x="1602" y="11"/>
                    </a:cubicBezTo>
                    <a:cubicBezTo>
                      <a:pt x="1819" y="25"/>
                      <a:pt x="1896" y="124"/>
                      <a:pt x="1895" y="173"/>
                    </a:cubicBezTo>
                    <a:cubicBezTo>
                      <a:pt x="1895" y="179"/>
                      <a:pt x="1895" y="179"/>
                      <a:pt x="1895" y="179"/>
                    </a:cubicBezTo>
                    <a:cubicBezTo>
                      <a:pt x="1895" y="179"/>
                      <a:pt x="1895" y="179"/>
                      <a:pt x="1895" y="1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62"/>
              <p:cNvSpPr>
                <a:spLocks noEditPoints="1"/>
              </p:cNvSpPr>
              <p:nvPr/>
            </p:nvSpPr>
            <p:spPr bwMode="auto">
              <a:xfrm>
                <a:off x="8893177" y="77789"/>
                <a:ext cx="5638802" cy="3778250"/>
              </a:xfrm>
              <a:custGeom>
                <a:avLst/>
                <a:gdLst>
                  <a:gd name="T0" fmla="*/ 1805 w 1897"/>
                  <a:gd name="T1" fmla="*/ 637 h 1271"/>
                  <a:gd name="T2" fmla="*/ 1798 w 1897"/>
                  <a:gd name="T3" fmla="*/ 567 h 1271"/>
                  <a:gd name="T4" fmla="*/ 1761 w 1897"/>
                  <a:gd name="T5" fmla="*/ 638 h 1271"/>
                  <a:gd name="T6" fmla="*/ 1818 w 1897"/>
                  <a:gd name="T7" fmla="*/ 790 h 1271"/>
                  <a:gd name="T8" fmla="*/ 1776 w 1897"/>
                  <a:gd name="T9" fmla="*/ 838 h 1271"/>
                  <a:gd name="T10" fmla="*/ 1752 w 1897"/>
                  <a:gd name="T11" fmla="*/ 861 h 1271"/>
                  <a:gd name="T12" fmla="*/ 1579 w 1897"/>
                  <a:gd name="T13" fmla="*/ 1043 h 1271"/>
                  <a:gd name="T14" fmla="*/ 1550 w 1897"/>
                  <a:gd name="T15" fmla="*/ 1065 h 1271"/>
                  <a:gd name="T16" fmla="*/ 1307 w 1897"/>
                  <a:gd name="T17" fmla="*/ 1182 h 1271"/>
                  <a:gd name="T18" fmla="*/ 1263 w 1897"/>
                  <a:gd name="T19" fmla="*/ 1024 h 1271"/>
                  <a:gd name="T20" fmla="*/ 1274 w 1897"/>
                  <a:gd name="T21" fmla="*/ 1213 h 1271"/>
                  <a:gd name="T22" fmla="*/ 1574 w 1897"/>
                  <a:gd name="T23" fmla="*/ 1271 h 1271"/>
                  <a:gd name="T24" fmla="*/ 1595 w 1897"/>
                  <a:gd name="T25" fmla="*/ 1089 h 1271"/>
                  <a:gd name="T26" fmla="*/ 1777 w 1897"/>
                  <a:gd name="T27" fmla="*/ 1070 h 1271"/>
                  <a:gd name="T28" fmla="*/ 1797 w 1897"/>
                  <a:gd name="T29" fmla="*/ 882 h 1271"/>
                  <a:gd name="T30" fmla="*/ 1849 w 1897"/>
                  <a:gd name="T31" fmla="*/ 759 h 1271"/>
                  <a:gd name="T32" fmla="*/ 658 w 1897"/>
                  <a:gd name="T33" fmla="*/ 477 h 1271"/>
                  <a:gd name="T34" fmla="*/ 1 w 1897"/>
                  <a:gd name="T35" fmla="*/ 457 h 1271"/>
                  <a:gd name="T36" fmla="*/ 35 w 1897"/>
                  <a:gd name="T37" fmla="*/ 538 h 1271"/>
                  <a:gd name="T38" fmla="*/ 251 w 1897"/>
                  <a:gd name="T39" fmla="*/ 689 h 1271"/>
                  <a:gd name="T40" fmla="*/ 470 w 1897"/>
                  <a:gd name="T41" fmla="*/ 726 h 1271"/>
                  <a:gd name="T42" fmla="*/ 658 w 1897"/>
                  <a:gd name="T43" fmla="*/ 477 h 1271"/>
                  <a:gd name="T44" fmla="*/ 1272 w 1897"/>
                  <a:gd name="T45" fmla="*/ 95 h 1271"/>
                  <a:gd name="T46" fmla="*/ 1217 w 1897"/>
                  <a:gd name="T47" fmla="*/ 9 h 1271"/>
                  <a:gd name="T48" fmla="*/ 1186 w 1897"/>
                  <a:gd name="T49" fmla="*/ 40 h 1271"/>
                  <a:gd name="T50" fmla="*/ 603 w 1897"/>
                  <a:gd name="T51" fmla="*/ 57 h 1271"/>
                  <a:gd name="T52" fmla="*/ 621 w 1897"/>
                  <a:gd name="T53" fmla="*/ 9 h 1271"/>
                  <a:gd name="T54" fmla="*/ 537 w 1897"/>
                  <a:gd name="T55" fmla="*/ 62 h 1271"/>
                  <a:gd name="T56" fmla="*/ 537 w 1897"/>
                  <a:gd name="T57" fmla="*/ 97 h 1271"/>
                  <a:gd name="T58" fmla="*/ 605 w 1897"/>
                  <a:gd name="T59" fmla="*/ 156 h 1271"/>
                  <a:gd name="T60" fmla="*/ 621 w 1897"/>
                  <a:gd name="T61" fmla="*/ 119 h 1271"/>
                  <a:gd name="T62" fmla="*/ 1203 w 1897"/>
                  <a:gd name="T63" fmla="*/ 101 h 1271"/>
                  <a:gd name="T64" fmla="*/ 1186 w 1897"/>
                  <a:gd name="T65" fmla="*/ 150 h 1271"/>
                  <a:gd name="T66" fmla="*/ 1217 w 1897"/>
                  <a:gd name="T67" fmla="*/ 150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97" h="1271">
                    <a:moveTo>
                      <a:pt x="1809" y="695"/>
                    </a:moveTo>
                    <a:cubicBezTo>
                      <a:pt x="1806" y="687"/>
                      <a:pt x="1805" y="656"/>
                      <a:pt x="1805" y="637"/>
                    </a:cubicBezTo>
                    <a:cubicBezTo>
                      <a:pt x="1804" y="623"/>
                      <a:pt x="1804" y="609"/>
                      <a:pt x="1803" y="599"/>
                    </a:cubicBezTo>
                    <a:cubicBezTo>
                      <a:pt x="1802" y="590"/>
                      <a:pt x="1801" y="578"/>
                      <a:pt x="1798" y="567"/>
                    </a:cubicBezTo>
                    <a:cubicBezTo>
                      <a:pt x="1787" y="579"/>
                      <a:pt x="1774" y="592"/>
                      <a:pt x="1759" y="604"/>
                    </a:cubicBezTo>
                    <a:cubicBezTo>
                      <a:pt x="1760" y="613"/>
                      <a:pt x="1760" y="625"/>
                      <a:pt x="1761" y="638"/>
                    </a:cubicBezTo>
                    <a:cubicBezTo>
                      <a:pt x="1762" y="675"/>
                      <a:pt x="1763" y="698"/>
                      <a:pt x="1768" y="712"/>
                    </a:cubicBezTo>
                    <a:cubicBezTo>
                      <a:pt x="1773" y="723"/>
                      <a:pt x="1790" y="762"/>
                      <a:pt x="1818" y="790"/>
                    </a:cubicBezTo>
                    <a:cubicBezTo>
                      <a:pt x="1831" y="804"/>
                      <a:pt x="1839" y="817"/>
                      <a:pt x="1842" y="824"/>
                    </a:cubicBezTo>
                    <a:cubicBezTo>
                      <a:pt x="1835" y="831"/>
                      <a:pt x="1815" y="842"/>
                      <a:pt x="1776" y="838"/>
                    </a:cubicBezTo>
                    <a:cubicBezTo>
                      <a:pt x="1770" y="837"/>
                      <a:pt x="1763" y="839"/>
                      <a:pt x="1758" y="844"/>
                    </a:cubicBezTo>
                    <a:cubicBezTo>
                      <a:pt x="1754" y="848"/>
                      <a:pt x="1751" y="855"/>
                      <a:pt x="1752" y="861"/>
                    </a:cubicBezTo>
                    <a:cubicBezTo>
                      <a:pt x="1757" y="934"/>
                      <a:pt x="1756" y="1023"/>
                      <a:pt x="1746" y="1039"/>
                    </a:cubicBezTo>
                    <a:cubicBezTo>
                      <a:pt x="1726" y="1053"/>
                      <a:pt x="1603" y="1047"/>
                      <a:pt x="1579" y="1043"/>
                    </a:cubicBezTo>
                    <a:cubicBezTo>
                      <a:pt x="1573" y="1042"/>
                      <a:pt x="1565" y="1043"/>
                      <a:pt x="1560" y="1046"/>
                    </a:cubicBezTo>
                    <a:cubicBezTo>
                      <a:pt x="1554" y="1050"/>
                      <a:pt x="1550" y="1057"/>
                      <a:pt x="1550" y="1065"/>
                    </a:cubicBezTo>
                    <a:cubicBezTo>
                      <a:pt x="1550" y="1227"/>
                      <a:pt x="1550" y="1227"/>
                      <a:pt x="1550" y="1227"/>
                    </a:cubicBezTo>
                    <a:cubicBezTo>
                      <a:pt x="1503" y="1227"/>
                      <a:pt x="1386" y="1223"/>
                      <a:pt x="1307" y="1182"/>
                    </a:cubicBezTo>
                    <a:cubicBezTo>
                      <a:pt x="1307" y="1049"/>
                      <a:pt x="1307" y="1049"/>
                      <a:pt x="1307" y="1049"/>
                    </a:cubicBezTo>
                    <a:cubicBezTo>
                      <a:pt x="1298" y="1046"/>
                      <a:pt x="1284" y="1040"/>
                      <a:pt x="1263" y="1024"/>
                    </a:cubicBezTo>
                    <a:cubicBezTo>
                      <a:pt x="1263" y="1194"/>
                      <a:pt x="1263" y="1194"/>
                      <a:pt x="1263" y="1194"/>
                    </a:cubicBezTo>
                    <a:cubicBezTo>
                      <a:pt x="1263" y="1202"/>
                      <a:pt x="1268" y="1209"/>
                      <a:pt x="1274" y="1213"/>
                    </a:cubicBezTo>
                    <a:cubicBezTo>
                      <a:pt x="1360" y="1265"/>
                      <a:pt x="1490" y="1271"/>
                      <a:pt x="1546" y="1271"/>
                    </a:cubicBezTo>
                    <a:cubicBezTo>
                      <a:pt x="1574" y="1271"/>
                      <a:pt x="1574" y="1271"/>
                      <a:pt x="1574" y="1271"/>
                    </a:cubicBezTo>
                    <a:cubicBezTo>
                      <a:pt x="1586" y="1270"/>
                      <a:pt x="1595" y="1260"/>
                      <a:pt x="1595" y="1249"/>
                    </a:cubicBezTo>
                    <a:cubicBezTo>
                      <a:pt x="1595" y="1089"/>
                      <a:pt x="1595" y="1089"/>
                      <a:pt x="1595" y="1089"/>
                    </a:cubicBezTo>
                    <a:cubicBezTo>
                      <a:pt x="1618" y="1091"/>
                      <a:pt x="1646" y="1092"/>
                      <a:pt x="1659" y="1092"/>
                    </a:cubicBezTo>
                    <a:cubicBezTo>
                      <a:pt x="1744" y="1093"/>
                      <a:pt x="1767" y="1080"/>
                      <a:pt x="1777" y="1070"/>
                    </a:cubicBezTo>
                    <a:cubicBezTo>
                      <a:pt x="1788" y="1058"/>
                      <a:pt x="1799" y="1035"/>
                      <a:pt x="1799" y="947"/>
                    </a:cubicBezTo>
                    <a:cubicBezTo>
                      <a:pt x="1799" y="923"/>
                      <a:pt x="1798" y="899"/>
                      <a:pt x="1797" y="882"/>
                    </a:cubicBezTo>
                    <a:cubicBezTo>
                      <a:pt x="1851" y="881"/>
                      <a:pt x="1878" y="855"/>
                      <a:pt x="1884" y="839"/>
                    </a:cubicBezTo>
                    <a:cubicBezTo>
                      <a:pt x="1897" y="809"/>
                      <a:pt x="1854" y="764"/>
                      <a:pt x="1849" y="759"/>
                    </a:cubicBezTo>
                    <a:cubicBezTo>
                      <a:pt x="1832" y="742"/>
                      <a:pt x="1817" y="715"/>
                      <a:pt x="1809" y="695"/>
                    </a:cubicBezTo>
                    <a:close/>
                    <a:moveTo>
                      <a:pt x="658" y="477"/>
                    </a:moveTo>
                    <a:cubicBezTo>
                      <a:pt x="608" y="379"/>
                      <a:pt x="484" y="285"/>
                      <a:pt x="294" y="296"/>
                    </a:cubicBezTo>
                    <a:cubicBezTo>
                      <a:pt x="77" y="310"/>
                      <a:pt x="0" y="409"/>
                      <a:pt x="1" y="457"/>
                    </a:cubicBezTo>
                    <a:cubicBezTo>
                      <a:pt x="1" y="463"/>
                      <a:pt x="1" y="463"/>
                      <a:pt x="1" y="463"/>
                    </a:cubicBezTo>
                    <a:cubicBezTo>
                      <a:pt x="3" y="490"/>
                      <a:pt x="15" y="515"/>
                      <a:pt x="35" y="538"/>
                    </a:cubicBezTo>
                    <a:cubicBezTo>
                      <a:pt x="66" y="582"/>
                      <a:pt x="182" y="665"/>
                      <a:pt x="246" y="698"/>
                    </a:cubicBezTo>
                    <a:cubicBezTo>
                      <a:pt x="251" y="700"/>
                      <a:pt x="256" y="693"/>
                      <a:pt x="251" y="689"/>
                    </a:cubicBezTo>
                    <a:cubicBezTo>
                      <a:pt x="231" y="674"/>
                      <a:pt x="219" y="661"/>
                      <a:pt x="211" y="650"/>
                    </a:cubicBezTo>
                    <a:cubicBezTo>
                      <a:pt x="336" y="701"/>
                      <a:pt x="470" y="726"/>
                      <a:pt x="470" y="726"/>
                    </a:cubicBezTo>
                    <a:cubicBezTo>
                      <a:pt x="582" y="838"/>
                      <a:pt x="442" y="991"/>
                      <a:pt x="476" y="1006"/>
                    </a:cubicBezTo>
                    <a:cubicBezTo>
                      <a:pt x="499" y="1017"/>
                      <a:pt x="801" y="751"/>
                      <a:pt x="658" y="477"/>
                    </a:cubicBezTo>
                    <a:close/>
                    <a:moveTo>
                      <a:pt x="1217" y="150"/>
                    </a:moveTo>
                    <a:cubicBezTo>
                      <a:pt x="1272" y="95"/>
                      <a:pt x="1272" y="95"/>
                      <a:pt x="1272" y="95"/>
                    </a:cubicBezTo>
                    <a:cubicBezTo>
                      <a:pt x="1280" y="86"/>
                      <a:pt x="1280" y="72"/>
                      <a:pt x="1272" y="64"/>
                    </a:cubicBezTo>
                    <a:cubicBezTo>
                      <a:pt x="1217" y="9"/>
                      <a:pt x="1217" y="9"/>
                      <a:pt x="1217" y="9"/>
                    </a:cubicBezTo>
                    <a:cubicBezTo>
                      <a:pt x="1208" y="0"/>
                      <a:pt x="1194" y="0"/>
                      <a:pt x="1186" y="9"/>
                    </a:cubicBezTo>
                    <a:cubicBezTo>
                      <a:pt x="1177" y="18"/>
                      <a:pt x="1177" y="32"/>
                      <a:pt x="1186" y="40"/>
                    </a:cubicBezTo>
                    <a:cubicBezTo>
                      <a:pt x="1203" y="57"/>
                      <a:pt x="1203" y="57"/>
                      <a:pt x="1203" y="57"/>
                    </a:cubicBezTo>
                    <a:cubicBezTo>
                      <a:pt x="603" y="57"/>
                      <a:pt x="603" y="57"/>
                      <a:pt x="603" y="57"/>
                    </a:cubicBezTo>
                    <a:cubicBezTo>
                      <a:pt x="621" y="40"/>
                      <a:pt x="621" y="40"/>
                      <a:pt x="621" y="40"/>
                    </a:cubicBezTo>
                    <a:cubicBezTo>
                      <a:pt x="629" y="32"/>
                      <a:pt x="629" y="18"/>
                      <a:pt x="621" y="9"/>
                    </a:cubicBezTo>
                    <a:cubicBezTo>
                      <a:pt x="612" y="0"/>
                      <a:pt x="598" y="0"/>
                      <a:pt x="589" y="9"/>
                    </a:cubicBezTo>
                    <a:cubicBezTo>
                      <a:pt x="537" y="62"/>
                      <a:pt x="537" y="62"/>
                      <a:pt x="537" y="62"/>
                    </a:cubicBezTo>
                    <a:cubicBezTo>
                      <a:pt x="531" y="66"/>
                      <a:pt x="528" y="72"/>
                      <a:pt x="528" y="79"/>
                    </a:cubicBezTo>
                    <a:cubicBezTo>
                      <a:pt x="528" y="87"/>
                      <a:pt x="531" y="93"/>
                      <a:pt x="537" y="97"/>
                    </a:cubicBezTo>
                    <a:cubicBezTo>
                      <a:pt x="589" y="150"/>
                      <a:pt x="589" y="150"/>
                      <a:pt x="589" y="150"/>
                    </a:cubicBezTo>
                    <a:cubicBezTo>
                      <a:pt x="594" y="154"/>
                      <a:pt x="599" y="156"/>
                      <a:pt x="605" y="156"/>
                    </a:cubicBezTo>
                    <a:cubicBezTo>
                      <a:pt x="611" y="156"/>
                      <a:pt x="616" y="154"/>
                      <a:pt x="621" y="150"/>
                    </a:cubicBezTo>
                    <a:cubicBezTo>
                      <a:pt x="629" y="141"/>
                      <a:pt x="629" y="127"/>
                      <a:pt x="621" y="119"/>
                    </a:cubicBezTo>
                    <a:cubicBezTo>
                      <a:pt x="603" y="101"/>
                      <a:pt x="603" y="101"/>
                      <a:pt x="603" y="101"/>
                    </a:cubicBezTo>
                    <a:cubicBezTo>
                      <a:pt x="1203" y="101"/>
                      <a:pt x="1203" y="101"/>
                      <a:pt x="1203" y="101"/>
                    </a:cubicBezTo>
                    <a:cubicBezTo>
                      <a:pt x="1186" y="119"/>
                      <a:pt x="1186" y="119"/>
                      <a:pt x="1186" y="119"/>
                    </a:cubicBezTo>
                    <a:cubicBezTo>
                      <a:pt x="1177" y="127"/>
                      <a:pt x="1177" y="141"/>
                      <a:pt x="1186" y="150"/>
                    </a:cubicBezTo>
                    <a:cubicBezTo>
                      <a:pt x="1190" y="154"/>
                      <a:pt x="1196" y="156"/>
                      <a:pt x="1201" y="156"/>
                    </a:cubicBezTo>
                    <a:cubicBezTo>
                      <a:pt x="1207" y="156"/>
                      <a:pt x="1213" y="154"/>
                      <a:pt x="1217" y="15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2" name="Group 31">
            <a:extLst>
              <a:ext uri="{FF2B5EF4-FFF2-40B4-BE49-F238E27FC236}">
                <a16:creationId xmlns:a16="http://schemas.microsoft.com/office/drawing/2014/main" id="{4B3E69C1-AA80-4CF2-8B0E-F4D43549BCB4}"/>
              </a:ext>
            </a:extLst>
          </p:cNvPr>
          <p:cNvGrpSpPr/>
          <p:nvPr/>
        </p:nvGrpSpPr>
        <p:grpSpPr>
          <a:xfrm>
            <a:off x="4404040" y="4191139"/>
            <a:ext cx="7426008" cy="755198"/>
            <a:chOff x="4404040" y="4143686"/>
            <a:chExt cx="7426008" cy="755198"/>
          </a:xfrm>
        </p:grpSpPr>
        <p:sp>
          <p:nvSpPr>
            <p:cNvPr id="9" name="Rectangle 8">
              <a:extLst>
                <a:ext uri="{FF2B5EF4-FFF2-40B4-BE49-F238E27FC236}">
                  <a16:creationId xmlns:a16="http://schemas.microsoft.com/office/drawing/2014/main" id="{DCC591DF-0291-458F-BDEF-EB0CB77761F1}"/>
                </a:ext>
              </a:extLst>
            </p:cNvPr>
            <p:cNvSpPr/>
            <p:nvPr/>
          </p:nvSpPr>
          <p:spPr>
            <a:xfrm>
              <a:off x="5279011" y="4398174"/>
              <a:ext cx="2190529" cy="246221"/>
            </a:xfrm>
            <a:prstGeom prst="rect">
              <a:avLst/>
            </a:prstGeom>
          </p:spPr>
          <p:txBody>
            <a:bodyPr wrap="square" lIns="0" tIns="0" rIns="0" bIns="0">
              <a:spAutoFit/>
            </a:bodyPr>
            <a:lstStyle/>
            <a:p>
              <a:pPr>
                <a:buSzPct val="100000"/>
                <a:buFont typeface="Trebuchet MS" panose="020B0603020202020204" pitchFamily="34" charset="0"/>
                <a:buChar char="​"/>
              </a:pPr>
              <a:r>
                <a:rPr lang="en-US" sz="1600" b="1" dirty="0">
                  <a:solidFill>
                    <a:srgbClr val="000000"/>
                  </a:solidFill>
                  <a:latin typeface="Calibri" panose="020F0502020204030204" pitchFamily="34" charset="0"/>
                  <a:cs typeface="Calibri" panose="020F0502020204030204" pitchFamily="34" charset="0"/>
                </a:rPr>
                <a:t>Contact duration</a:t>
              </a:r>
            </a:p>
          </p:txBody>
        </p:sp>
        <p:sp>
          <p:nvSpPr>
            <p:cNvPr id="13" name="Rectangle 12">
              <a:extLst>
                <a:ext uri="{FF2B5EF4-FFF2-40B4-BE49-F238E27FC236}">
                  <a16:creationId xmlns:a16="http://schemas.microsoft.com/office/drawing/2014/main" id="{6881BDCA-3627-4A16-BCC5-B63AFD263190}"/>
                </a:ext>
              </a:extLst>
            </p:cNvPr>
            <p:cNvSpPr/>
            <p:nvPr/>
          </p:nvSpPr>
          <p:spPr>
            <a:xfrm>
              <a:off x="8229599" y="4398174"/>
              <a:ext cx="3600449" cy="246221"/>
            </a:xfrm>
            <a:prstGeom prst="rect">
              <a:avLst/>
            </a:prstGeom>
          </p:spPr>
          <p:txBody>
            <a:bodyPr wrap="square" lIns="0" tIns="0" rIns="0" bIns="0">
              <a:spAutoFit/>
            </a:bodyPr>
            <a:lstStyle/>
            <a:p>
              <a:pPr>
                <a:buSzPct val="100000"/>
                <a:buFont typeface="Trebuchet MS" panose="020B0603020202020204" pitchFamily="34" charset="0"/>
                <a:buChar char="​"/>
              </a:pPr>
              <a:r>
                <a:rPr lang="en-US" sz="1600" dirty="0">
                  <a:solidFill>
                    <a:srgbClr val="000000"/>
                  </a:solidFill>
                  <a:latin typeface="Calibri" panose="020F0502020204030204" pitchFamily="34" charset="0"/>
                  <a:cs typeface="Calibri" panose="020F0502020204030204" pitchFamily="34" charset="0"/>
                </a:rPr>
                <a:t>Average interactions last more than 10 min</a:t>
              </a:r>
            </a:p>
          </p:txBody>
        </p:sp>
        <p:grpSp>
          <p:nvGrpSpPr>
            <p:cNvPr id="23" name="Group 22">
              <a:extLst>
                <a:ext uri="{FF2B5EF4-FFF2-40B4-BE49-F238E27FC236}">
                  <a16:creationId xmlns:a16="http://schemas.microsoft.com/office/drawing/2014/main" id="{E82DDB23-FFF3-4C2E-AE89-35E57EF5D9DB}"/>
                </a:ext>
              </a:extLst>
            </p:cNvPr>
            <p:cNvGrpSpPr>
              <a:grpSpLocks noChangeAspect="1"/>
            </p:cNvGrpSpPr>
            <p:nvPr/>
          </p:nvGrpSpPr>
          <p:grpSpPr>
            <a:xfrm>
              <a:off x="7696114" y="4367830"/>
              <a:ext cx="306910" cy="306910"/>
              <a:chOff x="982662" y="1847850"/>
              <a:chExt cx="269875" cy="269875"/>
            </a:xfrm>
          </p:grpSpPr>
          <p:sp>
            <p:nvSpPr>
              <p:cNvPr id="24" name="Oval 50">
                <a:extLst>
                  <a:ext uri="{FF2B5EF4-FFF2-40B4-BE49-F238E27FC236}">
                    <a16:creationId xmlns:a16="http://schemas.microsoft.com/office/drawing/2014/main" id="{20715CA1-D859-41FC-B733-BDD0EA73FFDA}"/>
                  </a:ext>
                </a:extLst>
              </p:cNvPr>
              <p:cNvSpPr>
                <a:spLocks noChangeArrowheads="1"/>
              </p:cNvSpPr>
              <p:nvPr/>
            </p:nvSpPr>
            <p:spPr bwMode="auto">
              <a:xfrm>
                <a:off x="982662" y="1847850"/>
                <a:ext cx="269875" cy="269875"/>
              </a:xfrm>
              <a:prstGeom prst="ellipse">
                <a:avLst/>
              </a:prstGeom>
              <a:solidFill>
                <a:srgbClr val="051934">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5" name="Freeform 51">
                <a:extLst>
                  <a:ext uri="{FF2B5EF4-FFF2-40B4-BE49-F238E27FC236}">
                    <a16:creationId xmlns:a16="http://schemas.microsoft.com/office/drawing/2014/main" id="{8838412E-B98D-4FE6-82A1-4E22561E00E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2" name="Group 51"/>
            <p:cNvGrpSpPr>
              <a:grpSpLocks noChangeAspect="1"/>
            </p:cNvGrpSpPr>
            <p:nvPr/>
          </p:nvGrpSpPr>
          <p:grpSpPr>
            <a:xfrm>
              <a:off x="4404040" y="4143686"/>
              <a:ext cx="755198" cy="755198"/>
              <a:chOff x="5273675" y="2606675"/>
              <a:chExt cx="1644650" cy="1644650"/>
            </a:xfrm>
          </p:grpSpPr>
          <p:sp>
            <p:nvSpPr>
              <p:cNvPr id="53"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4" name="Group 53"/>
              <p:cNvGrpSpPr/>
              <p:nvPr/>
            </p:nvGrpSpPr>
            <p:grpSpPr>
              <a:xfrm>
                <a:off x="5776913" y="2778125"/>
                <a:ext cx="638175" cy="1300163"/>
                <a:chOff x="5776913" y="2778125"/>
                <a:chExt cx="638175" cy="1300163"/>
              </a:xfrm>
            </p:grpSpPr>
            <p:sp>
              <p:nvSpPr>
                <p:cNvPr id="55" name="Freeform 54"/>
                <p:cNvSpPr>
                  <a:spLocks noEditPoints="1"/>
                </p:cNvSpPr>
                <p:nvPr/>
              </p:nvSpPr>
              <p:spPr bwMode="auto">
                <a:xfrm>
                  <a:off x="5776913" y="2778125"/>
                  <a:ext cx="638175" cy="1300163"/>
                </a:xfrm>
                <a:custGeom>
                  <a:avLst/>
                  <a:gdLst>
                    <a:gd name="T0" fmla="*/ 542 w 896"/>
                    <a:gd name="T1" fmla="*/ 952 h 1822"/>
                    <a:gd name="T2" fmla="*/ 542 w 896"/>
                    <a:gd name="T3" fmla="*/ 951 h 1822"/>
                    <a:gd name="T4" fmla="*/ 541 w 896"/>
                    <a:gd name="T5" fmla="*/ 950 h 1822"/>
                    <a:gd name="T6" fmla="*/ 542 w 896"/>
                    <a:gd name="T7" fmla="*/ 871 h 1822"/>
                    <a:gd name="T8" fmla="*/ 543 w 896"/>
                    <a:gd name="T9" fmla="*/ 870 h 1822"/>
                    <a:gd name="T10" fmla="*/ 862 w 896"/>
                    <a:gd name="T11" fmla="*/ 261 h 1822"/>
                    <a:gd name="T12" fmla="*/ 635 w 896"/>
                    <a:gd name="T13" fmla="*/ 13 h 1822"/>
                    <a:gd name="T14" fmla="*/ 556 w 896"/>
                    <a:gd name="T15" fmla="*/ 0 h 1822"/>
                    <a:gd name="T16" fmla="*/ 340 w 896"/>
                    <a:gd name="T17" fmla="*/ 0 h 1822"/>
                    <a:gd name="T18" fmla="*/ 261 w 896"/>
                    <a:gd name="T19" fmla="*/ 13 h 1822"/>
                    <a:gd name="T20" fmla="*/ 34 w 896"/>
                    <a:gd name="T21" fmla="*/ 261 h 1822"/>
                    <a:gd name="T22" fmla="*/ 353 w 896"/>
                    <a:gd name="T23" fmla="*/ 870 h 1822"/>
                    <a:gd name="T24" fmla="*/ 354 w 896"/>
                    <a:gd name="T25" fmla="*/ 872 h 1822"/>
                    <a:gd name="T26" fmla="*/ 355 w 896"/>
                    <a:gd name="T27" fmla="*/ 950 h 1822"/>
                    <a:gd name="T28" fmla="*/ 354 w 896"/>
                    <a:gd name="T29" fmla="*/ 952 h 1822"/>
                    <a:gd name="T30" fmla="*/ 353 w 896"/>
                    <a:gd name="T31" fmla="*/ 952 h 1822"/>
                    <a:gd name="T32" fmla="*/ 34 w 896"/>
                    <a:gd name="T33" fmla="*/ 1561 h 1822"/>
                    <a:gd name="T34" fmla="*/ 261 w 896"/>
                    <a:gd name="T35" fmla="*/ 1809 h 1822"/>
                    <a:gd name="T36" fmla="*/ 340 w 896"/>
                    <a:gd name="T37" fmla="*/ 1822 h 1822"/>
                    <a:gd name="T38" fmla="*/ 556 w 896"/>
                    <a:gd name="T39" fmla="*/ 1822 h 1822"/>
                    <a:gd name="T40" fmla="*/ 635 w 896"/>
                    <a:gd name="T41" fmla="*/ 1809 h 1822"/>
                    <a:gd name="T42" fmla="*/ 862 w 896"/>
                    <a:gd name="T43" fmla="*/ 1561 h 1822"/>
                    <a:gd name="T44" fmla="*/ 543 w 896"/>
                    <a:gd name="T45" fmla="*/ 952 h 1822"/>
                    <a:gd name="T46" fmla="*/ 542 w 896"/>
                    <a:gd name="T47" fmla="*/ 952 h 1822"/>
                    <a:gd name="T48" fmla="*/ 819 w 896"/>
                    <a:gd name="T49" fmla="*/ 1554 h 1822"/>
                    <a:gd name="T50" fmla="*/ 621 w 896"/>
                    <a:gd name="T51" fmla="*/ 1768 h 1822"/>
                    <a:gd name="T52" fmla="*/ 556 w 896"/>
                    <a:gd name="T53" fmla="*/ 1778 h 1822"/>
                    <a:gd name="T54" fmla="*/ 340 w 896"/>
                    <a:gd name="T55" fmla="*/ 1778 h 1822"/>
                    <a:gd name="T56" fmla="*/ 275 w 896"/>
                    <a:gd name="T57" fmla="*/ 1768 h 1822"/>
                    <a:gd name="T58" fmla="*/ 77 w 896"/>
                    <a:gd name="T59" fmla="*/ 1554 h 1822"/>
                    <a:gd name="T60" fmla="*/ 172 w 896"/>
                    <a:gd name="T61" fmla="*/ 1246 h 1822"/>
                    <a:gd name="T62" fmla="*/ 385 w 896"/>
                    <a:gd name="T63" fmla="*/ 983 h 1822"/>
                    <a:gd name="T64" fmla="*/ 385 w 896"/>
                    <a:gd name="T65" fmla="*/ 982 h 1822"/>
                    <a:gd name="T66" fmla="*/ 395 w 896"/>
                    <a:gd name="T67" fmla="*/ 967 h 1822"/>
                    <a:gd name="T68" fmla="*/ 395 w 896"/>
                    <a:gd name="T69" fmla="*/ 855 h 1822"/>
                    <a:gd name="T70" fmla="*/ 385 w 896"/>
                    <a:gd name="T71" fmla="*/ 839 h 1822"/>
                    <a:gd name="T72" fmla="*/ 172 w 896"/>
                    <a:gd name="T73" fmla="*/ 576 h 1822"/>
                    <a:gd name="T74" fmla="*/ 77 w 896"/>
                    <a:gd name="T75" fmla="*/ 268 h 1822"/>
                    <a:gd name="T76" fmla="*/ 275 w 896"/>
                    <a:gd name="T77" fmla="*/ 54 h 1822"/>
                    <a:gd name="T78" fmla="*/ 340 w 896"/>
                    <a:gd name="T79" fmla="*/ 44 h 1822"/>
                    <a:gd name="T80" fmla="*/ 556 w 896"/>
                    <a:gd name="T81" fmla="*/ 44 h 1822"/>
                    <a:gd name="T82" fmla="*/ 621 w 896"/>
                    <a:gd name="T83" fmla="*/ 54 h 1822"/>
                    <a:gd name="T84" fmla="*/ 819 w 896"/>
                    <a:gd name="T85" fmla="*/ 268 h 1822"/>
                    <a:gd name="T86" fmla="*/ 724 w 896"/>
                    <a:gd name="T87" fmla="*/ 576 h 1822"/>
                    <a:gd name="T88" fmla="*/ 511 w 896"/>
                    <a:gd name="T89" fmla="*/ 839 h 1822"/>
                    <a:gd name="T90" fmla="*/ 501 w 896"/>
                    <a:gd name="T91" fmla="*/ 855 h 1822"/>
                    <a:gd name="T92" fmla="*/ 501 w 896"/>
                    <a:gd name="T93" fmla="*/ 967 h 1822"/>
                    <a:gd name="T94" fmla="*/ 511 w 896"/>
                    <a:gd name="T95" fmla="*/ 982 h 1822"/>
                    <a:gd name="T96" fmla="*/ 511 w 896"/>
                    <a:gd name="T97" fmla="*/ 983 h 1822"/>
                    <a:gd name="T98" fmla="*/ 724 w 896"/>
                    <a:gd name="T99" fmla="*/ 1246 h 1822"/>
                    <a:gd name="T100" fmla="*/ 819 w 896"/>
                    <a:gd name="T101" fmla="*/ 1554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6" h="1822">
                      <a:moveTo>
                        <a:pt x="542" y="952"/>
                      </a:moveTo>
                      <a:cubicBezTo>
                        <a:pt x="542" y="952"/>
                        <a:pt x="542" y="951"/>
                        <a:pt x="542" y="951"/>
                      </a:cubicBezTo>
                      <a:cubicBezTo>
                        <a:pt x="542" y="951"/>
                        <a:pt x="541" y="950"/>
                        <a:pt x="541" y="950"/>
                      </a:cubicBezTo>
                      <a:cubicBezTo>
                        <a:pt x="531" y="925"/>
                        <a:pt x="531" y="897"/>
                        <a:pt x="542" y="871"/>
                      </a:cubicBezTo>
                      <a:cubicBezTo>
                        <a:pt x="542" y="871"/>
                        <a:pt x="542" y="871"/>
                        <a:pt x="543" y="870"/>
                      </a:cubicBezTo>
                      <a:cubicBezTo>
                        <a:pt x="676" y="733"/>
                        <a:pt x="896" y="472"/>
                        <a:pt x="862" y="261"/>
                      </a:cubicBezTo>
                      <a:cubicBezTo>
                        <a:pt x="843" y="143"/>
                        <a:pt x="765" y="57"/>
                        <a:pt x="635" y="13"/>
                      </a:cubicBezTo>
                      <a:cubicBezTo>
                        <a:pt x="611" y="4"/>
                        <a:pt x="584" y="0"/>
                        <a:pt x="556" y="0"/>
                      </a:cubicBezTo>
                      <a:cubicBezTo>
                        <a:pt x="340" y="0"/>
                        <a:pt x="340" y="0"/>
                        <a:pt x="340" y="0"/>
                      </a:cubicBezTo>
                      <a:cubicBezTo>
                        <a:pt x="312" y="0"/>
                        <a:pt x="285" y="4"/>
                        <a:pt x="261" y="13"/>
                      </a:cubicBezTo>
                      <a:cubicBezTo>
                        <a:pt x="131" y="57"/>
                        <a:pt x="53" y="143"/>
                        <a:pt x="34" y="261"/>
                      </a:cubicBezTo>
                      <a:cubicBezTo>
                        <a:pt x="0" y="472"/>
                        <a:pt x="220" y="733"/>
                        <a:pt x="353" y="870"/>
                      </a:cubicBezTo>
                      <a:cubicBezTo>
                        <a:pt x="354" y="871"/>
                        <a:pt x="354" y="871"/>
                        <a:pt x="354" y="872"/>
                      </a:cubicBezTo>
                      <a:cubicBezTo>
                        <a:pt x="365" y="897"/>
                        <a:pt x="365" y="925"/>
                        <a:pt x="355" y="950"/>
                      </a:cubicBezTo>
                      <a:cubicBezTo>
                        <a:pt x="355" y="950"/>
                        <a:pt x="354" y="951"/>
                        <a:pt x="354" y="952"/>
                      </a:cubicBezTo>
                      <a:cubicBezTo>
                        <a:pt x="353" y="952"/>
                        <a:pt x="353" y="952"/>
                        <a:pt x="353" y="952"/>
                      </a:cubicBezTo>
                      <a:cubicBezTo>
                        <a:pt x="220" y="1089"/>
                        <a:pt x="0" y="1350"/>
                        <a:pt x="34" y="1561"/>
                      </a:cubicBezTo>
                      <a:cubicBezTo>
                        <a:pt x="53" y="1679"/>
                        <a:pt x="131" y="1765"/>
                        <a:pt x="261" y="1809"/>
                      </a:cubicBezTo>
                      <a:cubicBezTo>
                        <a:pt x="285" y="1818"/>
                        <a:pt x="312" y="1822"/>
                        <a:pt x="340" y="1822"/>
                      </a:cubicBezTo>
                      <a:cubicBezTo>
                        <a:pt x="556" y="1822"/>
                        <a:pt x="556" y="1822"/>
                        <a:pt x="556" y="1822"/>
                      </a:cubicBezTo>
                      <a:cubicBezTo>
                        <a:pt x="584" y="1822"/>
                        <a:pt x="611" y="1818"/>
                        <a:pt x="635" y="1809"/>
                      </a:cubicBezTo>
                      <a:cubicBezTo>
                        <a:pt x="765" y="1765"/>
                        <a:pt x="843" y="1679"/>
                        <a:pt x="862" y="1561"/>
                      </a:cubicBezTo>
                      <a:cubicBezTo>
                        <a:pt x="896" y="1350"/>
                        <a:pt x="676" y="1089"/>
                        <a:pt x="543" y="952"/>
                      </a:cubicBezTo>
                      <a:lnTo>
                        <a:pt x="542" y="952"/>
                      </a:lnTo>
                      <a:close/>
                      <a:moveTo>
                        <a:pt x="819" y="1554"/>
                      </a:moveTo>
                      <a:cubicBezTo>
                        <a:pt x="802" y="1657"/>
                        <a:pt x="736" y="1729"/>
                        <a:pt x="621" y="1768"/>
                      </a:cubicBezTo>
                      <a:cubicBezTo>
                        <a:pt x="601" y="1774"/>
                        <a:pt x="579" y="1778"/>
                        <a:pt x="556" y="1778"/>
                      </a:cubicBezTo>
                      <a:cubicBezTo>
                        <a:pt x="340" y="1778"/>
                        <a:pt x="340" y="1778"/>
                        <a:pt x="340" y="1778"/>
                      </a:cubicBezTo>
                      <a:cubicBezTo>
                        <a:pt x="317" y="1778"/>
                        <a:pt x="295" y="1774"/>
                        <a:pt x="275" y="1768"/>
                      </a:cubicBezTo>
                      <a:cubicBezTo>
                        <a:pt x="160" y="1729"/>
                        <a:pt x="94" y="1657"/>
                        <a:pt x="77" y="1554"/>
                      </a:cubicBezTo>
                      <a:cubicBezTo>
                        <a:pt x="64" y="1470"/>
                        <a:pt x="96" y="1367"/>
                        <a:pt x="172" y="1246"/>
                      </a:cubicBezTo>
                      <a:cubicBezTo>
                        <a:pt x="238" y="1141"/>
                        <a:pt x="324" y="1045"/>
                        <a:pt x="385" y="983"/>
                      </a:cubicBezTo>
                      <a:cubicBezTo>
                        <a:pt x="385" y="982"/>
                        <a:pt x="385" y="982"/>
                        <a:pt x="385" y="982"/>
                      </a:cubicBezTo>
                      <a:cubicBezTo>
                        <a:pt x="390" y="978"/>
                        <a:pt x="393" y="972"/>
                        <a:pt x="395" y="967"/>
                      </a:cubicBezTo>
                      <a:cubicBezTo>
                        <a:pt x="410" y="930"/>
                        <a:pt x="410" y="891"/>
                        <a:pt x="395" y="855"/>
                      </a:cubicBezTo>
                      <a:cubicBezTo>
                        <a:pt x="393" y="849"/>
                        <a:pt x="389" y="844"/>
                        <a:pt x="385" y="839"/>
                      </a:cubicBezTo>
                      <a:cubicBezTo>
                        <a:pt x="324" y="777"/>
                        <a:pt x="238" y="681"/>
                        <a:pt x="172" y="576"/>
                      </a:cubicBezTo>
                      <a:cubicBezTo>
                        <a:pt x="96" y="455"/>
                        <a:pt x="64" y="352"/>
                        <a:pt x="77" y="268"/>
                      </a:cubicBezTo>
                      <a:cubicBezTo>
                        <a:pt x="94" y="165"/>
                        <a:pt x="160" y="93"/>
                        <a:pt x="275" y="54"/>
                      </a:cubicBezTo>
                      <a:cubicBezTo>
                        <a:pt x="295" y="48"/>
                        <a:pt x="317" y="44"/>
                        <a:pt x="340" y="44"/>
                      </a:cubicBezTo>
                      <a:cubicBezTo>
                        <a:pt x="556" y="44"/>
                        <a:pt x="556" y="44"/>
                        <a:pt x="556" y="44"/>
                      </a:cubicBezTo>
                      <a:cubicBezTo>
                        <a:pt x="579" y="44"/>
                        <a:pt x="601" y="48"/>
                        <a:pt x="621" y="54"/>
                      </a:cubicBezTo>
                      <a:cubicBezTo>
                        <a:pt x="736" y="93"/>
                        <a:pt x="802" y="165"/>
                        <a:pt x="819" y="268"/>
                      </a:cubicBezTo>
                      <a:cubicBezTo>
                        <a:pt x="832" y="352"/>
                        <a:pt x="800" y="455"/>
                        <a:pt x="724" y="576"/>
                      </a:cubicBezTo>
                      <a:cubicBezTo>
                        <a:pt x="658" y="681"/>
                        <a:pt x="572" y="777"/>
                        <a:pt x="511" y="839"/>
                      </a:cubicBezTo>
                      <a:cubicBezTo>
                        <a:pt x="507" y="844"/>
                        <a:pt x="503" y="849"/>
                        <a:pt x="501" y="855"/>
                      </a:cubicBezTo>
                      <a:cubicBezTo>
                        <a:pt x="486" y="891"/>
                        <a:pt x="486" y="930"/>
                        <a:pt x="501" y="967"/>
                      </a:cubicBezTo>
                      <a:cubicBezTo>
                        <a:pt x="503" y="972"/>
                        <a:pt x="506" y="978"/>
                        <a:pt x="511" y="982"/>
                      </a:cubicBezTo>
                      <a:cubicBezTo>
                        <a:pt x="511" y="983"/>
                        <a:pt x="511" y="983"/>
                        <a:pt x="511" y="983"/>
                      </a:cubicBezTo>
                      <a:cubicBezTo>
                        <a:pt x="572" y="1045"/>
                        <a:pt x="658" y="1141"/>
                        <a:pt x="724" y="1246"/>
                      </a:cubicBezTo>
                      <a:cubicBezTo>
                        <a:pt x="800" y="1367"/>
                        <a:pt x="832" y="1470"/>
                        <a:pt x="819" y="1554"/>
                      </a:cubicBezTo>
                      <a:close/>
                    </a:path>
                  </a:pathLst>
                </a:custGeom>
                <a:solidFill>
                  <a:srgbClr val="05193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55"/>
                <p:cNvSpPr>
                  <a:spLocks/>
                </p:cNvSpPr>
                <p:nvPr/>
              </p:nvSpPr>
              <p:spPr bwMode="auto">
                <a:xfrm>
                  <a:off x="5865929" y="3059113"/>
                  <a:ext cx="459714" cy="955675"/>
                </a:xfrm>
                <a:custGeom>
                  <a:avLst/>
                  <a:gdLst>
                    <a:gd name="connsiteX0" fmla="*/ 229982 w 459714"/>
                    <a:gd name="connsiteY0" fmla="*/ 587063 h 955675"/>
                    <a:gd name="connsiteX1" fmla="*/ 252978 w 459714"/>
                    <a:gd name="connsiteY1" fmla="*/ 595652 h 955675"/>
                    <a:gd name="connsiteX2" fmla="*/ 446970 w 459714"/>
                    <a:gd name="connsiteY2" fmla="*/ 792484 h 955675"/>
                    <a:gd name="connsiteX3" fmla="*/ 454844 w 459714"/>
                    <a:gd name="connsiteY3" fmla="*/ 857617 h 955675"/>
                    <a:gd name="connsiteX4" fmla="*/ 393998 w 459714"/>
                    <a:gd name="connsiteY4" fmla="*/ 927045 h 955675"/>
                    <a:gd name="connsiteX5" fmla="*/ 290202 w 459714"/>
                    <a:gd name="connsiteY5" fmla="*/ 955675 h 955675"/>
                    <a:gd name="connsiteX6" fmla="*/ 169941 w 459714"/>
                    <a:gd name="connsiteY6" fmla="*/ 955675 h 955675"/>
                    <a:gd name="connsiteX7" fmla="*/ 66145 w 459714"/>
                    <a:gd name="connsiteY7" fmla="*/ 927045 h 955675"/>
                    <a:gd name="connsiteX8" fmla="*/ 3867 w 459714"/>
                    <a:gd name="connsiteY8" fmla="*/ 854038 h 955675"/>
                    <a:gd name="connsiteX9" fmla="*/ 11741 w 459714"/>
                    <a:gd name="connsiteY9" fmla="*/ 793915 h 955675"/>
                    <a:gd name="connsiteX10" fmla="*/ 206449 w 459714"/>
                    <a:gd name="connsiteY10" fmla="*/ 595652 h 955675"/>
                    <a:gd name="connsiteX11" fmla="*/ 229982 w 459714"/>
                    <a:gd name="connsiteY11" fmla="*/ 587063 h 955675"/>
                    <a:gd name="connsiteX12" fmla="*/ 230865 w 459714"/>
                    <a:gd name="connsiteY12" fmla="*/ 525462 h 955675"/>
                    <a:gd name="connsiteX13" fmla="*/ 244359 w 459714"/>
                    <a:gd name="connsiteY13" fmla="*/ 538956 h 955675"/>
                    <a:gd name="connsiteX14" fmla="*/ 239388 w 459714"/>
                    <a:gd name="connsiteY14" fmla="*/ 548899 h 955675"/>
                    <a:gd name="connsiteX15" fmla="*/ 230865 w 459714"/>
                    <a:gd name="connsiteY15" fmla="*/ 552450 h 955675"/>
                    <a:gd name="connsiteX16" fmla="*/ 221633 w 459714"/>
                    <a:gd name="connsiteY16" fmla="*/ 548899 h 955675"/>
                    <a:gd name="connsiteX17" fmla="*/ 217371 w 459714"/>
                    <a:gd name="connsiteY17" fmla="*/ 538956 h 955675"/>
                    <a:gd name="connsiteX18" fmla="*/ 230865 w 459714"/>
                    <a:gd name="connsiteY18" fmla="*/ 525462 h 955675"/>
                    <a:gd name="connsiteX19" fmla="*/ 230865 w 459714"/>
                    <a:gd name="connsiteY19" fmla="*/ 449262 h 955675"/>
                    <a:gd name="connsiteX20" fmla="*/ 244359 w 459714"/>
                    <a:gd name="connsiteY20" fmla="*/ 462756 h 955675"/>
                    <a:gd name="connsiteX21" fmla="*/ 230865 w 459714"/>
                    <a:gd name="connsiteY21" fmla="*/ 476250 h 955675"/>
                    <a:gd name="connsiteX22" fmla="*/ 217371 w 459714"/>
                    <a:gd name="connsiteY22" fmla="*/ 462756 h 955675"/>
                    <a:gd name="connsiteX23" fmla="*/ 230865 w 459714"/>
                    <a:gd name="connsiteY23" fmla="*/ 449262 h 955675"/>
                    <a:gd name="connsiteX24" fmla="*/ 230865 w 459714"/>
                    <a:gd name="connsiteY24" fmla="*/ 374650 h 955675"/>
                    <a:gd name="connsiteX25" fmla="*/ 244359 w 459714"/>
                    <a:gd name="connsiteY25" fmla="*/ 388144 h 955675"/>
                    <a:gd name="connsiteX26" fmla="*/ 230865 w 459714"/>
                    <a:gd name="connsiteY26" fmla="*/ 401638 h 955675"/>
                    <a:gd name="connsiteX27" fmla="*/ 217371 w 459714"/>
                    <a:gd name="connsiteY27" fmla="*/ 388144 h 955675"/>
                    <a:gd name="connsiteX28" fmla="*/ 230865 w 459714"/>
                    <a:gd name="connsiteY28" fmla="*/ 374650 h 955675"/>
                    <a:gd name="connsiteX29" fmla="*/ 6234 w 459714"/>
                    <a:gd name="connsiteY29" fmla="*/ 0 h 955675"/>
                    <a:gd name="connsiteX30" fmla="*/ 453909 w 459714"/>
                    <a:gd name="connsiteY30" fmla="*/ 0 h 955675"/>
                    <a:gd name="connsiteX31" fmla="*/ 250096 w 459714"/>
                    <a:gd name="connsiteY31" fmla="*/ 291837 h 955675"/>
                    <a:gd name="connsiteX32" fmla="*/ 230072 w 459714"/>
                    <a:gd name="connsiteY32" fmla="*/ 311150 h 955675"/>
                    <a:gd name="connsiteX33" fmla="*/ 210047 w 459714"/>
                    <a:gd name="connsiteY33" fmla="*/ 291837 h 955675"/>
                    <a:gd name="connsiteX34" fmla="*/ 6234 w 459714"/>
                    <a:gd name="connsiteY34" fmla="*/ 0 h 95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59714" h="955675">
                      <a:moveTo>
                        <a:pt x="229982" y="587063"/>
                      </a:moveTo>
                      <a:cubicBezTo>
                        <a:pt x="238304" y="587063"/>
                        <a:pt x="246536" y="589926"/>
                        <a:pt x="252978" y="595652"/>
                      </a:cubicBezTo>
                      <a:cubicBezTo>
                        <a:pt x="308098" y="644323"/>
                        <a:pt x="406167" y="734508"/>
                        <a:pt x="446970" y="792484"/>
                      </a:cubicBezTo>
                      <a:cubicBezTo>
                        <a:pt x="460571" y="811809"/>
                        <a:pt x="463434" y="836145"/>
                        <a:pt x="454844" y="857617"/>
                      </a:cubicBezTo>
                      <a:cubicBezTo>
                        <a:pt x="443391" y="886247"/>
                        <a:pt x="423347" y="909151"/>
                        <a:pt x="393998" y="927045"/>
                      </a:cubicBezTo>
                      <a:cubicBezTo>
                        <a:pt x="363933" y="945655"/>
                        <a:pt x="328141" y="955675"/>
                        <a:pt x="290202" y="955675"/>
                      </a:cubicBezTo>
                      <a:cubicBezTo>
                        <a:pt x="290202" y="955675"/>
                        <a:pt x="290202" y="955675"/>
                        <a:pt x="169941" y="955675"/>
                      </a:cubicBezTo>
                      <a:cubicBezTo>
                        <a:pt x="132002" y="955675"/>
                        <a:pt x="96210" y="945655"/>
                        <a:pt x="66145" y="927045"/>
                      </a:cubicBezTo>
                      <a:cubicBezTo>
                        <a:pt x="35364" y="908436"/>
                        <a:pt x="15320" y="884100"/>
                        <a:pt x="3867" y="854038"/>
                      </a:cubicBezTo>
                      <a:cubicBezTo>
                        <a:pt x="-3291" y="833997"/>
                        <a:pt x="-428" y="811809"/>
                        <a:pt x="11741" y="793915"/>
                      </a:cubicBezTo>
                      <a:cubicBezTo>
                        <a:pt x="51828" y="734508"/>
                        <a:pt x="151329" y="644323"/>
                        <a:pt x="206449" y="595652"/>
                      </a:cubicBezTo>
                      <a:cubicBezTo>
                        <a:pt x="213249" y="589926"/>
                        <a:pt x="221661" y="587063"/>
                        <a:pt x="229982" y="587063"/>
                      </a:cubicBezTo>
                      <a:close/>
                      <a:moveTo>
                        <a:pt x="230865" y="525462"/>
                      </a:moveTo>
                      <a:cubicBezTo>
                        <a:pt x="237967" y="525462"/>
                        <a:pt x="244359" y="531144"/>
                        <a:pt x="244359" y="538956"/>
                      </a:cubicBezTo>
                      <a:cubicBezTo>
                        <a:pt x="244359" y="542507"/>
                        <a:pt x="242229" y="546058"/>
                        <a:pt x="239388" y="548899"/>
                      </a:cubicBezTo>
                      <a:cubicBezTo>
                        <a:pt x="237257" y="551030"/>
                        <a:pt x="233706" y="552450"/>
                        <a:pt x="230865" y="552450"/>
                      </a:cubicBezTo>
                      <a:cubicBezTo>
                        <a:pt x="227314" y="552450"/>
                        <a:pt x="223763" y="551030"/>
                        <a:pt x="221633" y="548899"/>
                      </a:cubicBezTo>
                      <a:cubicBezTo>
                        <a:pt x="218792" y="546058"/>
                        <a:pt x="217371" y="542507"/>
                        <a:pt x="217371" y="538956"/>
                      </a:cubicBezTo>
                      <a:cubicBezTo>
                        <a:pt x="217371" y="531144"/>
                        <a:pt x="223053" y="525462"/>
                        <a:pt x="230865" y="525462"/>
                      </a:cubicBezTo>
                      <a:close/>
                      <a:moveTo>
                        <a:pt x="230865" y="449262"/>
                      </a:moveTo>
                      <a:cubicBezTo>
                        <a:pt x="238318" y="449262"/>
                        <a:pt x="244359" y="455303"/>
                        <a:pt x="244359" y="462756"/>
                      </a:cubicBezTo>
                      <a:cubicBezTo>
                        <a:pt x="244359" y="470209"/>
                        <a:pt x="238318" y="476250"/>
                        <a:pt x="230865" y="476250"/>
                      </a:cubicBezTo>
                      <a:cubicBezTo>
                        <a:pt x="223412" y="476250"/>
                        <a:pt x="217371" y="470209"/>
                        <a:pt x="217371" y="462756"/>
                      </a:cubicBezTo>
                      <a:cubicBezTo>
                        <a:pt x="217371" y="455303"/>
                        <a:pt x="223412" y="449262"/>
                        <a:pt x="230865" y="449262"/>
                      </a:cubicBezTo>
                      <a:close/>
                      <a:moveTo>
                        <a:pt x="230865" y="374650"/>
                      </a:moveTo>
                      <a:cubicBezTo>
                        <a:pt x="238318" y="374650"/>
                        <a:pt x="244359" y="380691"/>
                        <a:pt x="244359" y="388144"/>
                      </a:cubicBezTo>
                      <a:cubicBezTo>
                        <a:pt x="244359" y="395597"/>
                        <a:pt x="238318" y="401638"/>
                        <a:pt x="230865" y="401638"/>
                      </a:cubicBezTo>
                      <a:cubicBezTo>
                        <a:pt x="223412" y="401638"/>
                        <a:pt x="217371" y="395597"/>
                        <a:pt x="217371" y="388144"/>
                      </a:cubicBezTo>
                      <a:cubicBezTo>
                        <a:pt x="217371" y="380691"/>
                        <a:pt x="223412" y="374650"/>
                        <a:pt x="230865" y="374650"/>
                      </a:cubicBezTo>
                      <a:close/>
                      <a:moveTo>
                        <a:pt x="6234" y="0"/>
                      </a:moveTo>
                      <a:cubicBezTo>
                        <a:pt x="6234" y="0"/>
                        <a:pt x="6234" y="0"/>
                        <a:pt x="453909" y="0"/>
                      </a:cubicBezTo>
                      <a:cubicBezTo>
                        <a:pt x="413862" y="115876"/>
                        <a:pt x="299440" y="241767"/>
                        <a:pt x="250096" y="291837"/>
                      </a:cubicBezTo>
                      <a:cubicBezTo>
                        <a:pt x="248665" y="293268"/>
                        <a:pt x="240084" y="301851"/>
                        <a:pt x="230072" y="311150"/>
                      </a:cubicBezTo>
                      <a:cubicBezTo>
                        <a:pt x="220060" y="301851"/>
                        <a:pt x="211478" y="293268"/>
                        <a:pt x="210047" y="291837"/>
                      </a:cubicBezTo>
                      <a:cubicBezTo>
                        <a:pt x="160703" y="241767"/>
                        <a:pt x="46281" y="115876"/>
                        <a:pt x="6234" y="0"/>
                      </a:cubicBezTo>
                      <a:close/>
                    </a:path>
                  </a:pathLst>
                </a:custGeom>
                <a:solidFill>
                  <a:srgbClr val="0A37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33" name="Group 32">
            <a:extLst>
              <a:ext uri="{FF2B5EF4-FFF2-40B4-BE49-F238E27FC236}">
                <a16:creationId xmlns:a16="http://schemas.microsoft.com/office/drawing/2014/main" id="{AD979C07-8C87-4C19-A292-5C7603A58097}"/>
              </a:ext>
            </a:extLst>
          </p:cNvPr>
          <p:cNvGrpSpPr/>
          <p:nvPr/>
        </p:nvGrpSpPr>
        <p:grpSpPr>
          <a:xfrm>
            <a:off x="4404038" y="5115980"/>
            <a:ext cx="7426010" cy="870042"/>
            <a:chOff x="4404038" y="5115980"/>
            <a:chExt cx="7426010" cy="870042"/>
          </a:xfrm>
        </p:grpSpPr>
        <p:sp>
          <p:nvSpPr>
            <p:cNvPr id="10" name="Rectangle 9">
              <a:extLst>
                <a:ext uri="{FF2B5EF4-FFF2-40B4-BE49-F238E27FC236}">
                  <a16:creationId xmlns:a16="http://schemas.microsoft.com/office/drawing/2014/main" id="{FBF80D3B-685F-4D24-A0E5-11D7E9F163EC}"/>
                </a:ext>
              </a:extLst>
            </p:cNvPr>
            <p:cNvSpPr/>
            <p:nvPr/>
          </p:nvSpPr>
          <p:spPr>
            <a:xfrm>
              <a:off x="5279010" y="5247358"/>
              <a:ext cx="2190529" cy="492443"/>
            </a:xfrm>
            <a:prstGeom prst="rect">
              <a:avLst/>
            </a:prstGeom>
          </p:spPr>
          <p:txBody>
            <a:bodyPr wrap="square" lIns="0" tIns="0" rIns="0" bIns="0">
              <a:spAutoFit/>
            </a:bodyPr>
            <a:lstStyle/>
            <a:p>
              <a:pPr>
                <a:buSzPct val="100000"/>
                <a:buFont typeface="Trebuchet MS" panose="020B0603020202020204" pitchFamily="34" charset="0"/>
                <a:buChar char="​"/>
              </a:pPr>
              <a:r>
                <a:rPr lang="en-US" sz="1600" b="1" dirty="0">
                  <a:solidFill>
                    <a:srgbClr val="000000"/>
                  </a:solidFill>
                  <a:latin typeface="Calibri" panose="020F0502020204030204" pitchFamily="34" charset="0"/>
                  <a:cs typeface="Calibri" panose="020F0502020204030204" pitchFamily="34" charset="0"/>
                </a:rPr>
                <a:t>Challenges to implement protective measures</a:t>
              </a:r>
              <a:endParaRPr lang="en-US" sz="1600" b="1" dirty="0">
                <a:solidFill>
                  <a:srgbClr val="000000">
                    <a:lumMod val="100000"/>
                  </a:srgbClr>
                </a:solidFill>
                <a:latin typeface="Calibri" panose="020F0502020204030204" pitchFamily="34" charset="0"/>
              </a:endParaRPr>
            </a:p>
          </p:txBody>
        </p:sp>
        <p:sp>
          <p:nvSpPr>
            <p:cNvPr id="12" name="Rectangle 11">
              <a:extLst>
                <a:ext uri="{FF2B5EF4-FFF2-40B4-BE49-F238E27FC236}">
                  <a16:creationId xmlns:a16="http://schemas.microsoft.com/office/drawing/2014/main" id="{9E94EDA3-62C4-4744-9ABA-07BDC7EEB8CB}"/>
                </a:ext>
              </a:extLst>
            </p:cNvPr>
            <p:cNvSpPr/>
            <p:nvPr/>
          </p:nvSpPr>
          <p:spPr>
            <a:xfrm>
              <a:off x="8229599" y="5247358"/>
              <a:ext cx="3600449" cy="738664"/>
            </a:xfrm>
            <a:prstGeom prst="rect">
              <a:avLst/>
            </a:prstGeom>
          </p:spPr>
          <p:txBody>
            <a:bodyPr wrap="square" lIns="0" tIns="0" rIns="0" bIns="0">
              <a:spAutoFit/>
            </a:bodyPr>
            <a:lstStyle/>
            <a:p>
              <a:pPr>
                <a:buSzPct val="100000"/>
                <a:buFont typeface="Trebuchet MS" panose="020B0603020202020204" pitchFamily="34" charset="0"/>
                <a:buChar char="​"/>
              </a:pPr>
              <a:r>
                <a:rPr lang="en-US" sz="1600" dirty="0">
                  <a:solidFill>
                    <a:srgbClr val="000000"/>
                  </a:solidFill>
                  <a:latin typeface="Calibri" panose="020F0502020204030204" pitchFamily="34" charset="0"/>
                  <a:cs typeface="Calibri" panose="020F0502020204030204" pitchFamily="34" charset="0"/>
                </a:rPr>
                <a:t>Space is indoors, confined, or it is not possible to control with whom workers will interact</a:t>
              </a:r>
              <a:endParaRPr lang="en-US" sz="1600" dirty="0">
                <a:solidFill>
                  <a:srgbClr val="000000">
                    <a:lumMod val="100000"/>
                  </a:srgbClr>
                </a:solidFill>
                <a:latin typeface="Calibri" panose="020F0502020204030204" pitchFamily="34" charset="0"/>
              </a:endParaRPr>
            </a:p>
          </p:txBody>
        </p:sp>
        <p:grpSp>
          <p:nvGrpSpPr>
            <p:cNvPr id="26" name="Group 25">
              <a:extLst>
                <a:ext uri="{FF2B5EF4-FFF2-40B4-BE49-F238E27FC236}">
                  <a16:creationId xmlns:a16="http://schemas.microsoft.com/office/drawing/2014/main" id="{8AF162C4-1962-4FB4-B99A-E83034F66F56}"/>
                </a:ext>
              </a:extLst>
            </p:cNvPr>
            <p:cNvGrpSpPr>
              <a:grpSpLocks noChangeAspect="1"/>
            </p:cNvGrpSpPr>
            <p:nvPr/>
          </p:nvGrpSpPr>
          <p:grpSpPr>
            <a:xfrm>
              <a:off x="7696114" y="5340125"/>
              <a:ext cx="306910" cy="306910"/>
              <a:chOff x="982662" y="1847850"/>
              <a:chExt cx="269875" cy="269875"/>
            </a:xfrm>
          </p:grpSpPr>
          <p:sp>
            <p:nvSpPr>
              <p:cNvPr id="27" name="Oval 50">
                <a:extLst>
                  <a:ext uri="{FF2B5EF4-FFF2-40B4-BE49-F238E27FC236}">
                    <a16:creationId xmlns:a16="http://schemas.microsoft.com/office/drawing/2014/main" id="{D06F32B5-1188-4AAF-9CCA-4BA19042AA39}"/>
                  </a:ext>
                </a:extLst>
              </p:cNvPr>
              <p:cNvSpPr>
                <a:spLocks noChangeArrowheads="1"/>
              </p:cNvSpPr>
              <p:nvPr/>
            </p:nvSpPr>
            <p:spPr bwMode="auto">
              <a:xfrm>
                <a:off x="982662" y="1847850"/>
                <a:ext cx="269875" cy="269875"/>
              </a:xfrm>
              <a:prstGeom prst="ellipse">
                <a:avLst/>
              </a:prstGeom>
              <a:solidFill>
                <a:srgbClr val="051934">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8" name="Freeform 51">
                <a:extLst>
                  <a:ext uri="{FF2B5EF4-FFF2-40B4-BE49-F238E27FC236}">
                    <a16:creationId xmlns:a16="http://schemas.microsoft.com/office/drawing/2014/main" id="{9F5ED7EA-B9E2-4BB1-BBEF-EC8DBAC4970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7" name="Group 56"/>
            <p:cNvGrpSpPr>
              <a:grpSpLocks noChangeAspect="1"/>
            </p:cNvGrpSpPr>
            <p:nvPr/>
          </p:nvGrpSpPr>
          <p:grpSpPr>
            <a:xfrm>
              <a:off x="4404038" y="5115980"/>
              <a:ext cx="755200" cy="755198"/>
              <a:chOff x="-7481985" y="-2031500"/>
              <a:chExt cx="6848475" cy="6858002"/>
            </a:xfrm>
          </p:grpSpPr>
          <p:sp>
            <p:nvSpPr>
              <p:cNvPr id="58" name="AutoShape 41"/>
              <p:cNvSpPr>
                <a:spLocks noChangeAspect="1" noChangeArrowheads="1" noTextEdit="1"/>
              </p:cNvSpPr>
              <p:nvPr/>
            </p:nvSpPr>
            <p:spPr bwMode="auto">
              <a:xfrm>
                <a:off x="-7481985" y="-2031500"/>
                <a:ext cx="6848475" cy="6858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3"/>
              <p:cNvSpPr>
                <a:spLocks/>
              </p:cNvSpPr>
              <p:nvPr/>
            </p:nvSpPr>
            <p:spPr bwMode="auto">
              <a:xfrm>
                <a:off x="-6743790" y="1816604"/>
                <a:ext cx="860422" cy="1479549"/>
              </a:xfrm>
              <a:custGeom>
                <a:avLst/>
                <a:gdLst>
                  <a:gd name="T0" fmla="*/ 289 w 289"/>
                  <a:gd name="T1" fmla="*/ 475 h 497"/>
                  <a:gd name="T2" fmla="*/ 49 w 289"/>
                  <a:gd name="T3" fmla="*/ 24 h 497"/>
                  <a:gd name="T4" fmla="*/ 0 w 289"/>
                  <a:gd name="T5" fmla="*/ 0 h 497"/>
                  <a:gd name="T6" fmla="*/ 250 w 289"/>
                  <a:gd name="T7" fmla="*/ 497 h 497"/>
                  <a:gd name="T8" fmla="*/ 269 w 289"/>
                  <a:gd name="T9" fmla="*/ 485 h 497"/>
                  <a:gd name="T10" fmla="*/ 289 w 289"/>
                  <a:gd name="T11" fmla="*/ 475 h 497"/>
                </a:gdLst>
                <a:ahLst/>
                <a:cxnLst>
                  <a:cxn ang="0">
                    <a:pos x="T0" y="T1"/>
                  </a:cxn>
                  <a:cxn ang="0">
                    <a:pos x="T2" y="T3"/>
                  </a:cxn>
                  <a:cxn ang="0">
                    <a:pos x="T4" y="T5"/>
                  </a:cxn>
                  <a:cxn ang="0">
                    <a:pos x="T6" y="T7"/>
                  </a:cxn>
                  <a:cxn ang="0">
                    <a:pos x="T8" y="T9"/>
                  </a:cxn>
                  <a:cxn ang="0">
                    <a:pos x="T10" y="T11"/>
                  </a:cxn>
                </a:cxnLst>
                <a:rect l="0" t="0" r="r" b="b"/>
                <a:pathLst>
                  <a:path w="289" h="497">
                    <a:moveTo>
                      <a:pt x="289" y="475"/>
                    </a:moveTo>
                    <a:cubicBezTo>
                      <a:pt x="168" y="354"/>
                      <a:pt x="82" y="198"/>
                      <a:pt x="49" y="24"/>
                    </a:cubicBezTo>
                    <a:cubicBezTo>
                      <a:pt x="0" y="0"/>
                      <a:pt x="0" y="0"/>
                      <a:pt x="0" y="0"/>
                    </a:cubicBezTo>
                    <a:cubicBezTo>
                      <a:pt x="29" y="187"/>
                      <a:pt x="115" y="360"/>
                      <a:pt x="250" y="497"/>
                    </a:cubicBezTo>
                    <a:cubicBezTo>
                      <a:pt x="256" y="493"/>
                      <a:pt x="262" y="489"/>
                      <a:pt x="269" y="485"/>
                    </a:cubicBezTo>
                    <a:lnTo>
                      <a:pt x="289" y="475"/>
                    </a:lnTo>
                    <a:close/>
                  </a:path>
                </a:pathLst>
              </a:custGeom>
              <a:solidFill>
                <a:srgbClr val="082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44"/>
              <p:cNvSpPr>
                <a:spLocks/>
              </p:cNvSpPr>
              <p:nvPr/>
            </p:nvSpPr>
            <p:spPr bwMode="auto">
              <a:xfrm>
                <a:off x="-5351565" y="3716840"/>
                <a:ext cx="2587620" cy="398465"/>
              </a:xfrm>
              <a:custGeom>
                <a:avLst/>
                <a:gdLst>
                  <a:gd name="T0" fmla="*/ 442 w 869"/>
                  <a:gd name="T1" fmla="*/ 93 h 134"/>
                  <a:gd name="T2" fmla="*/ 434 w 869"/>
                  <a:gd name="T3" fmla="*/ 94 h 134"/>
                  <a:gd name="T4" fmla="*/ 434 w 869"/>
                  <a:gd name="T5" fmla="*/ 94 h 134"/>
                  <a:gd name="T6" fmla="*/ 47 w 869"/>
                  <a:gd name="T7" fmla="*/ 0 h 134"/>
                  <a:gd name="T8" fmla="*/ 0 w 869"/>
                  <a:gd name="T9" fmla="*/ 24 h 134"/>
                  <a:gd name="T10" fmla="*/ 434 w 869"/>
                  <a:gd name="T11" fmla="*/ 134 h 134"/>
                  <a:gd name="T12" fmla="*/ 869 w 869"/>
                  <a:gd name="T13" fmla="*/ 24 h 134"/>
                  <a:gd name="T14" fmla="*/ 822 w 869"/>
                  <a:gd name="T15" fmla="*/ 0 h 134"/>
                  <a:gd name="T16" fmla="*/ 442 w 869"/>
                  <a:gd name="T17" fmla="*/ 9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9" h="134">
                    <a:moveTo>
                      <a:pt x="442" y="93"/>
                    </a:moveTo>
                    <a:cubicBezTo>
                      <a:pt x="439" y="94"/>
                      <a:pt x="437" y="94"/>
                      <a:pt x="434" y="94"/>
                    </a:cubicBezTo>
                    <a:cubicBezTo>
                      <a:pt x="434" y="94"/>
                      <a:pt x="434" y="94"/>
                      <a:pt x="434" y="94"/>
                    </a:cubicBezTo>
                    <a:cubicBezTo>
                      <a:pt x="300" y="93"/>
                      <a:pt x="167" y="60"/>
                      <a:pt x="47" y="0"/>
                    </a:cubicBezTo>
                    <a:cubicBezTo>
                      <a:pt x="0" y="24"/>
                      <a:pt x="0" y="24"/>
                      <a:pt x="0" y="24"/>
                    </a:cubicBezTo>
                    <a:cubicBezTo>
                      <a:pt x="131" y="96"/>
                      <a:pt x="280" y="134"/>
                      <a:pt x="434" y="134"/>
                    </a:cubicBezTo>
                    <a:cubicBezTo>
                      <a:pt x="588" y="134"/>
                      <a:pt x="737" y="96"/>
                      <a:pt x="869" y="24"/>
                    </a:cubicBezTo>
                    <a:cubicBezTo>
                      <a:pt x="822" y="0"/>
                      <a:pt x="822" y="0"/>
                      <a:pt x="822" y="0"/>
                    </a:cubicBezTo>
                    <a:cubicBezTo>
                      <a:pt x="705" y="59"/>
                      <a:pt x="574" y="91"/>
                      <a:pt x="442" y="93"/>
                    </a:cubicBezTo>
                    <a:close/>
                  </a:path>
                </a:pathLst>
              </a:custGeom>
              <a:solidFill>
                <a:srgbClr val="082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61" name="Freeform 45"/>
              <p:cNvSpPr>
                <a:spLocks/>
              </p:cNvSpPr>
              <p:nvPr/>
            </p:nvSpPr>
            <p:spPr bwMode="auto">
              <a:xfrm>
                <a:off x="-2235304" y="1819771"/>
                <a:ext cx="860422" cy="1473200"/>
              </a:xfrm>
              <a:custGeom>
                <a:avLst/>
                <a:gdLst>
                  <a:gd name="T0" fmla="*/ 0 w 289"/>
                  <a:gd name="T1" fmla="*/ 473 h 495"/>
                  <a:gd name="T2" fmla="*/ 21 w 289"/>
                  <a:gd name="T3" fmla="*/ 484 h 495"/>
                  <a:gd name="T4" fmla="*/ 40 w 289"/>
                  <a:gd name="T5" fmla="*/ 495 h 495"/>
                  <a:gd name="T6" fmla="*/ 289 w 289"/>
                  <a:gd name="T7" fmla="*/ 0 h 495"/>
                  <a:gd name="T8" fmla="*/ 240 w 289"/>
                  <a:gd name="T9" fmla="*/ 23 h 495"/>
                  <a:gd name="T10" fmla="*/ 0 w 289"/>
                  <a:gd name="T11" fmla="*/ 473 h 495"/>
                </a:gdLst>
                <a:ahLst/>
                <a:cxnLst>
                  <a:cxn ang="0">
                    <a:pos x="T0" y="T1"/>
                  </a:cxn>
                  <a:cxn ang="0">
                    <a:pos x="T2" y="T3"/>
                  </a:cxn>
                  <a:cxn ang="0">
                    <a:pos x="T4" y="T5"/>
                  </a:cxn>
                  <a:cxn ang="0">
                    <a:pos x="T6" y="T7"/>
                  </a:cxn>
                  <a:cxn ang="0">
                    <a:pos x="T8" y="T9"/>
                  </a:cxn>
                  <a:cxn ang="0">
                    <a:pos x="T10" y="T11"/>
                  </a:cxn>
                </a:cxnLst>
                <a:rect l="0" t="0" r="r" b="b"/>
                <a:pathLst>
                  <a:path w="289" h="495">
                    <a:moveTo>
                      <a:pt x="0" y="473"/>
                    </a:moveTo>
                    <a:cubicBezTo>
                      <a:pt x="21" y="484"/>
                      <a:pt x="21" y="484"/>
                      <a:pt x="21" y="484"/>
                    </a:cubicBezTo>
                    <a:cubicBezTo>
                      <a:pt x="28" y="487"/>
                      <a:pt x="34" y="491"/>
                      <a:pt x="40" y="495"/>
                    </a:cubicBezTo>
                    <a:cubicBezTo>
                      <a:pt x="174" y="359"/>
                      <a:pt x="260" y="186"/>
                      <a:pt x="289" y="0"/>
                    </a:cubicBezTo>
                    <a:cubicBezTo>
                      <a:pt x="240" y="23"/>
                      <a:pt x="240" y="23"/>
                      <a:pt x="240" y="23"/>
                    </a:cubicBezTo>
                    <a:cubicBezTo>
                      <a:pt x="206" y="197"/>
                      <a:pt x="121" y="353"/>
                      <a:pt x="0" y="473"/>
                    </a:cubicBezTo>
                    <a:close/>
                  </a:path>
                </a:pathLst>
              </a:custGeom>
              <a:solidFill>
                <a:srgbClr val="082A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46"/>
              <p:cNvSpPr>
                <a:spLocks noEditPoints="1"/>
              </p:cNvSpPr>
              <p:nvPr/>
            </p:nvSpPr>
            <p:spPr bwMode="auto">
              <a:xfrm>
                <a:off x="-7043835" y="-1326645"/>
                <a:ext cx="5948363" cy="5191128"/>
              </a:xfrm>
              <a:custGeom>
                <a:avLst/>
                <a:gdLst>
                  <a:gd name="T0" fmla="*/ 1988 w 1999"/>
                  <a:gd name="T1" fmla="*/ 879 h 1744"/>
                  <a:gd name="T2" fmla="*/ 1433 w 1999"/>
                  <a:gd name="T3" fmla="*/ 1057 h 1744"/>
                  <a:gd name="T4" fmla="*/ 1001 w 1999"/>
                  <a:gd name="T5" fmla="*/ 893 h 1744"/>
                  <a:gd name="T6" fmla="*/ 126 w 1999"/>
                  <a:gd name="T7" fmla="*/ 842 h 1744"/>
                  <a:gd name="T8" fmla="*/ 57 w 1999"/>
                  <a:gd name="T9" fmla="*/ 986 h 1744"/>
                  <a:gd name="T10" fmla="*/ 283 w 1999"/>
                  <a:gd name="T11" fmla="*/ 1246 h 1744"/>
                  <a:gd name="T12" fmla="*/ 265 w 1999"/>
                  <a:gd name="T13" fmla="*/ 1277 h 1744"/>
                  <a:gd name="T14" fmla="*/ 390 w 1999"/>
                  <a:gd name="T15" fmla="*/ 1580 h 1744"/>
                  <a:gd name="T16" fmla="*/ 463 w 1999"/>
                  <a:gd name="T17" fmla="*/ 1723 h 1744"/>
                  <a:gd name="T18" fmla="*/ 1003 w 1999"/>
                  <a:gd name="T19" fmla="*/ 1744 h 1744"/>
                  <a:gd name="T20" fmla="*/ 1008 w 1999"/>
                  <a:gd name="T21" fmla="*/ 1743 h 1744"/>
                  <a:gd name="T22" fmla="*/ 1545 w 1999"/>
                  <a:gd name="T23" fmla="*/ 1723 h 1744"/>
                  <a:gd name="T24" fmla="*/ 1652 w 1999"/>
                  <a:gd name="T25" fmla="*/ 1688 h 1744"/>
                  <a:gd name="T26" fmla="*/ 1540 w 1999"/>
                  <a:gd name="T27" fmla="*/ 1541 h 1744"/>
                  <a:gd name="T28" fmla="*/ 1742 w 1999"/>
                  <a:gd name="T29" fmla="*/ 1256 h 1744"/>
                  <a:gd name="T30" fmla="*/ 1539 w 1999"/>
                  <a:gd name="T31" fmla="*/ 1183 h 1744"/>
                  <a:gd name="T32" fmla="*/ 1991 w 1999"/>
                  <a:gd name="T33" fmla="*/ 941 h 1744"/>
                  <a:gd name="T34" fmla="*/ 1950 w 1999"/>
                  <a:gd name="T35" fmla="*/ 926 h 1744"/>
                  <a:gd name="T36" fmla="*/ 1490 w 1999"/>
                  <a:gd name="T37" fmla="*/ 1158 h 1744"/>
                  <a:gd name="T38" fmla="*/ 1484 w 1999"/>
                  <a:gd name="T39" fmla="*/ 1193 h 1744"/>
                  <a:gd name="T40" fmla="*/ 1487 w 1999"/>
                  <a:gd name="T41" fmla="*/ 1528 h 1744"/>
                  <a:gd name="T42" fmla="*/ 1491 w 1999"/>
                  <a:gd name="T43" fmla="*/ 1565 h 1744"/>
                  <a:gd name="T44" fmla="*/ 1613 w 1999"/>
                  <a:gd name="T45" fmla="*/ 1668 h 1744"/>
                  <a:gd name="T46" fmla="*/ 1565 w 1999"/>
                  <a:gd name="T47" fmla="*/ 1683 h 1744"/>
                  <a:gd name="T48" fmla="*/ 1380 w 1999"/>
                  <a:gd name="T49" fmla="*/ 1600 h 1744"/>
                  <a:gd name="T50" fmla="*/ 1009 w 1999"/>
                  <a:gd name="T51" fmla="*/ 1699 h 1744"/>
                  <a:gd name="T52" fmla="*/ 628 w 1999"/>
                  <a:gd name="T53" fmla="*/ 1601 h 1744"/>
                  <a:gd name="T54" fmla="*/ 607 w 1999"/>
                  <a:gd name="T55" fmla="*/ 1600 h 1744"/>
                  <a:gd name="T56" fmla="*/ 394 w 1999"/>
                  <a:gd name="T57" fmla="*/ 1668 h 1744"/>
                  <a:gd name="T58" fmla="*/ 517 w 1999"/>
                  <a:gd name="T59" fmla="*/ 1565 h 1744"/>
                  <a:gd name="T60" fmla="*/ 521 w 1999"/>
                  <a:gd name="T61" fmla="*/ 1528 h 1744"/>
                  <a:gd name="T62" fmla="*/ 523 w 1999"/>
                  <a:gd name="T63" fmla="*/ 1194 h 1744"/>
                  <a:gd name="T64" fmla="*/ 517 w 1999"/>
                  <a:gd name="T65" fmla="*/ 1158 h 1744"/>
                  <a:gd name="T66" fmla="*/ 57 w 1999"/>
                  <a:gd name="T67" fmla="*/ 926 h 1744"/>
                  <a:gd name="T68" fmla="*/ 107 w 1999"/>
                  <a:gd name="T69" fmla="*/ 882 h 1744"/>
                  <a:gd name="T70" fmla="*/ 566 w 1999"/>
                  <a:gd name="T71" fmla="*/ 1103 h 1744"/>
                  <a:gd name="T72" fmla="*/ 995 w 1999"/>
                  <a:gd name="T73" fmla="*/ 937 h 1744"/>
                  <a:gd name="T74" fmla="*/ 1014 w 1999"/>
                  <a:gd name="T75" fmla="*/ 936 h 1744"/>
                  <a:gd name="T76" fmla="*/ 1441 w 1999"/>
                  <a:gd name="T77" fmla="*/ 1102 h 1744"/>
                  <a:gd name="T78" fmla="*/ 1900 w 1999"/>
                  <a:gd name="T79" fmla="*/ 881 h 1744"/>
                  <a:gd name="T80" fmla="*/ 1950 w 1999"/>
                  <a:gd name="T81" fmla="*/ 926 h 1744"/>
                  <a:gd name="T82" fmla="*/ 1865 w 1999"/>
                  <a:gd name="T83" fmla="*/ 801 h 1744"/>
                  <a:gd name="T84" fmla="*/ 1648 w 1999"/>
                  <a:gd name="T85" fmla="*/ 268 h 1744"/>
                  <a:gd name="T86" fmla="*/ 358 w 1999"/>
                  <a:gd name="T87" fmla="*/ 268 h 1744"/>
                  <a:gd name="T88" fmla="*/ 141 w 1999"/>
                  <a:gd name="T89" fmla="*/ 801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99" h="1744">
                    <a:moveTo>
                      <a:pt x="1988" y="879"/>
                    </a:moveTo>
                    <a:cubicBezTo>
                      <a:pt x="1988" y="879"/>
                      <a:pt x="1988" y="879"/>
                      <a:pt x="1988" y="879"/>
                    </a:cubicBezTo>
                    <a:cubicBezTo>
                      <a:pt x="1969" y="840"/>
                      <a:pt x="1921" y="823"/>
                      <a:pt x="1881" y="842"/>
                    </a:cubicBezTo>
                    <a:cubicBezTo>
                      <a:pt x="1433" y="1057"/>
                      <a:pt x="1433" y="1057"/>
                      <a:pt x="1433" y="1057"/>
                    </a:cubicBezTo>
                    <a:cubicBezTo>
                      <a:pt x="1280" y="890"/>
                      <a:pt x="1049" y="891"/>
                      <a:pt x="1003" y="893"/>
                    </a:cubicBezTo>
                    <a:cubicBezTo>
                      <a:pt x="1002" y="893"/>
                      <a:pt x="1001" y="893"/>
                      <a:pt x="1001" y="893"/>
                    </a:cubicBezTo>
                    <a:cubicBezTo>
                      <a:pt x="947" y="891"/>
                      <a:pt x="724" y="894"/>
                      <a:pt x="575" y="1057"/>
                    </a:cubicBezTo>
                    <a:cubicBezTo>
                      <a:pt x="126" y="842"/>
                      <a:pt x="126" y="842"/>
                      <a:pt x="126" y="842"/>
                    </a:cubicBezTo>
                    <a:cubicBezTo>
                      <a:pt x="86" y="823"/>
                      <a:pt x="38" y="840"/>
                      <a:pt x="19" y="880"/>
                    </a:cubicBezTo>
                    <a:cubicBezTo>
                      <a:pt x="0" y="920"/>
                      <a:pt x="17" y="967"/>
                      <a:pt x="57" y="986"/>
                    </a:cubicBezTo>
                    <a:cubicBezTo>
                      <a:pt x="468" y="1184"/>
                      <a:pt x="468" y="1184"/>
                      <a:pt x="468" y="1184"/>
                    </a:cubicBezTo>
                    <a:cubicBezTo>
                      <a:pt x="421" y="1220"/>
                      <a:pt x="359" y="1241"/>
                      <a:pt x="283" y="1246"/>
                    </a:cubicBezTo>
                    <a:cubicBezTo>
                      <a:pt x="276" y="1246"/>
                      <a:pt x="269" y="1250"/>
                      <a:pt x="265" y="1257"/>
                    </a:cubicBezTo>
                    <a:cubicBezTo>
                      <a:pt x="262" y="1263"/>
                      <a:pt x="261" y="1271"/>
                      <a:pt x="265" y="1277"/>
                    </a:cubicBezTo>
                    <a:cubicBezTo>
                      <a:pt x="313" y="1377"/>
                      <a:pt x="383" y="1468"/>
                      <a:pt x="467" y="1541"/>
                    </a:cubicBezTo>
                    <a:cubicBezTo>
                      <a:pt x="390" y="1580"/>
                      <a:pt x="390" y="1580"/>
                      <a:pt x="390" y="1580"/>
                    </a:cubicBezTo>
                    <a:cubicBezTo>
                      <a:pt x="351" y="1600"/>
                      <a:pt x="335" y="1649"/>
                      <a:pt x="355" y="1688"/>
                    </a:cubicBezTo>
                    <a:cubicBezTo>
                      <a:pt x="375" y="1727"/>
                      <a:pt x="423" y="1743"/>
                      <a:pt x="463" y="1723"/>
                    </a:cubicBezTo>
                    <a:cubicBezTo>
                      <a:pt x="617" y="1645"/>
                      <a:pt x="617" y="1645"/>
                      <a:pt x="617" y="1645"/>
                    </a:cubicBezTo>
                    <a:cubicBezTo>
                      <a:pt x="735" y="1708"/>
                      <a:pt x="868" y="1743"/>
                      <a:pt x="1003" y="1744"/>
                    </a:cubicBezTo>
                    <a:cubicBezTo>
                      <a:pt x="1003" y="1744"/>
                      <a:pt x="1003" y="1744"/>
                      <a:pt x="1003" y="1744"/>
                    </a:cubicBezTo>
                    <a:cubicBezTo>
                      <a:pt x="1005" y="1744"/>
                      <a:pt x="1006" y="1744"/>
                      <a:pt x="1008" y="1743"/>
                    </a:cubicBezTo>
                    <a:cubicBezTo>
                      <a:pt x="1141" y="1742"/>
                      <a:pt x="1273" y="1708"/>
                      <a:pt x="1391" y="1644"/>
                    </a:cubicBezTo>
                    <a:cubicBezTo>
                      <a:pt x="1545" y="1723"/>
                      <a:pt x="1545" y="1723"/>
                      <a:pt x="1545" y="1723"/>
                    </a:cubicBezTo>
                    <a:cubicBezTo>
                      <a:pt x="1564" y="1732"/>
                      <a:pt x="1585" y="1734"/>
                      <a:pt x="1606" y="1727"/>
                    </a:cubicBezTo>
                    <a:cubicBezTo>
                      <a:pt x="1626" y="1721"/>
                      <a:pt x="1643" y="1707"/>
                      <a:pt x="1652" y="1688"/>
                    </a:cubicBezTo>
                    <a:cubicBezTo>
                      <a:pt x="1672" y="1648"/>
                      <a:pt x="1657" y="1600"/>
                      <a:pt x="1617" y="1580"/>
                    </a:cubicBezTo>
                    <a:cubicBezTo>
                      <a:pt x="1540" y="1541"/>
                      <a:pt x="1540" y="1541"/>
                      <a:pt x="1540" y="1541"/>
                    </a:cubicBezTo>
                    <a:cubicBezTo>
                      <a:pt x="1624" y="1468"/>
                      <a:pt x="1694" y="1377"/>
                      <a:pt x="1743" y="1277"/>
                    </a:cubicBezTo>
                    <a:cubicBezTo>
                      <a:pt x="1746" y="1270"/>
                      <a:pt x="1746" y="1263"/>
                      <a:pt x="1742" y="1256"/>
                    </a:cubicBezTo>
                    <a:cubicBezTo>
                      <a:pt x="1738" y="1250"/>
                      <a:pt x="1732" y="1246"/>
                      <a:pt x="1724" y="1245"/>
                    </a:cubicBezTo>
                    <a:cubicBezTo>
                      <a:pt x="1648" y="1240"/>
                      <a:pt x="1586" y="1220"/>
                      <a:pt x="1539" y="1183"/>
                    </a:cubicBezTo>
                    <a:cubicBezTo>
                      <a:pt x="1951" y="986"/>
                      <a:pt x="1951" y="986"/>
                      <a:pt x="1951" y="986"/>
                    </a:cubicBezTo>
                    <a:cubicBezTo>
                      <a:pt x="1970" y="977"/>
                      <a:pt x="1984" y="961"/>
                      <a:pt x="1991" y="941"/>
                    </a:cubicBezTo>
                    <a:cubicBezTo>
                      <a:pt x="1999" y="920"/>
                      <a:pt x="1997" y="899"/>
                      <a:pt x="1988" y="879"/>
                    </a:cubicBezTo>
                    <a:close/>
                    <a:moveTo>
                      <a:pt x="1950" y="926"/>
                    </a:moveTo>
                    <a:cubicBezTo>
                      <a:pt x="1947" y="935"/>
                      <a:pt x="1940" y="942"/>
                      <a:pt x="1932" y="946"/>
                    </a:cubicBezTo>
                    <a:cubicBezTo>
                      <a:pt x="1490" y="1158"/>
                      <a:pt x="1490" y="1158"/>
                      <a:pt x="1490" y="1158"/>
                    </a:cubicBezTo>
                    <a:cubicBezTo>
                      <a:pt x="1484" y="1161"/>
                      <a:pt x="1479" y="1167"/>
                      <a:pt x="1478" y="1174"/>
                    </a:cubicBezTo>
                    <a:cubicBezTo>
                      <a:pt x="1477" y="1181"/>
                      <a:pt x="1479" y="1188"/>
                      <a:pt x="1484" y="1193"/>
                    </a:cubicBezTo>
                    <a:cubicBezTo>
                      <a:pt x="1535" y="1244"/>
                      <a:pt x="1603" y="1275"/>
                      <a:pt x="1689" y="1286"/>
                    </a:cubicBezTo>
                    <a:cubicBezTo>
                      <a:pt x="1639" y="1379"/>
                      <a:pt x="1569" y="1462"/>
                      <a:pt x="1487" y="1528"/>
                    </a:cubicBezTo>
                    <a:cubicBezTo>
                      <a:pt x="1481" y="1533"/>
                      <a:pt x="1478" y="1540"/>
                      <a:pt x="1479" y="1548"/>
                    </a:cubicBezTo>
                    <a:cubicBezTo>
                      <a:pt x="1479" y="1555"/>
                      <a:pt x="1484" y="1562"/>
                      <a:pt x="1491" y="1565"/>
                    </a:cubicBezTo>
                    <a:cubicBezTo>
                      <a:pt x="1597" y="1619"/>
                      <a:pt x="1597" y="1619"/>
                      <a:pt x="1597" y="1619"/>
                    </a:cubicBezTo>
                    <a:cubicBezTo>
                      <a:pt x="1615" y="1628"/>
                      <a:pt x="1622" y="1650"/>
                      <a:pt x="1613" y="1668"/>
                    </a:cubicBezTo>
                    <a:cubicBezTo>
                      <a:pt x="1609" y="1676"/>
                      <a:pt x="1601" y="1683"/>
                      <a:pt x="1592" y="1686"/>
                    </a:cubicBezTo>
                    <a:cubicBezTo>
                      <a:pt x="1583" y="1688"/>
                      <a:pt x="1573" y="1688"/>
                      <a:pt x="1565" y="1683"/>
                    </a:cubicBezTo>
                    <a:cubicBezTo>
                      <a:pt x="1400" y="1600"/>
                      <a:pt x="1400" y="1600"/>
                      <a:pt x="1400" y="1600"/>
                    </a:cubicBezTo>
                    <a:cubicBezTo>
                      <a:pt x="1394" y="1596"/>
                      <a:pt x="1386" y="1597"/>
                      <a:pt x="1380" y="1600"/>
                    </a:cubicBezTo>
                    <a:cubicBezTo>
                      <a:pt x="1267" y="1663"/>
                      <a:pt x="1140" y="1697"/>
                      <a:pt x="1010" y="1699"/>
                    </a:cubicBezTo>
                    <a:cubicBezTo>
                      <a:pt x="1010" y="1699"/>
                      <a:pt x="1009" y="1699"/>
                      <a:pt x="1009" y="1699"/>
                    </a:cubicBezTo>
                    <a:cubicBezTo>
                      <a:pt x="1005" y="1698"/>
                      <a:pt x="1000" y="1698"/>
                      <a:pt x="996" y="1700"/>
                    </a:cubicBezTo>
                    <a:cubicBezTo>
                      <a:pt x="867" y="1697"/>
                      <a:pt x="740" y="1663"/>
                      <a:pt x="628" y="1601"/>
                    </a:cubicBezTo>
                    <a:cubicBezTo>
                      <a:pt x="624" y="1599"/>
                      <a:pt x="621" y="1598"/>
                      <a:pt x="617" y="1598"/>
                    </a:cubicBezTo>
                    <a:cubicBezTo>
                      <a:pt x="614" y="1598"/>
                      <a:pt x="610" y="1599"/>
                      <a:pt x="607" y="1600"/>
                    </a:cubicBezTo>
                    <a:cubicBezTo>
                      <a:pt x="443" y="1684"/>
                      <a:pt x="443" y="1684"/>
                      <a:pt x="443" y="1684"/>
                    </a:cubicBezTo>
                    <a:cubicBezTo>
                      <a:pt x="425" y="1693"/>
                      <a:pt x="403" y="1686"/>
                      <a:pt x="394" y="1668"/>
                    </a:cubicBezTo>
                    <a:cubicBezTo>
                      <a:pt x="385" y="1650"/>
                      <a:pt x="392" y="1629"/>
                      <a:pt x="410" y="1620"/>
                    </a:cubicBezTo>
                    <a:cubicBezTo>
                      <a:pt x="517" y="1565"/>
                      <a:pt x="517" y="1565"/>
                      <a:pt x="517" y="1565"/>
                    </a:cubicBezTo>
                    <a:cubicBezTo>
                      <a:pt x="523" y="1562"/>
                      <a:pt x="528" y="1555"/>
                      <a:pt x="529" y="1548"/>
                    </a:cubicBezTo>
                    <a:cubicBezTo>
                      <a:pt x="529" y="1540"/>
                      <a:pt x="526" y="1533"/>
                      <a:pt x="521" y="1528"/>
                    </a:cubicBezTo>
                    <a:cubicBezTo>
                      <a:pt x="438" y="1463"/>
                      <a:pt x="369" y="1379"/>
                      <a:pt x="319" y="1287"/>
                    </a:cubicBezTo>
                    <a:cubicBezTo>
                      <a:pt x="404" y="1276"/>
                      <a:pt x="473" y="1244"/>
                      <a:pt x="523" y="1194"/>
                    </a:cubicBezTo>
                    <a:cubicBezTo>
                      <a:pt x="528" y="1189"/>
                      <a:pt x="531" y="1181"/>
                      <a:pt x="530" y="1174"/>
                    </a:cubicBezTo>
                    <a:cubicBezTo>
                      <a:pt x="528" y="1167"/>
                      <a:pt x="524" y="1161"/>
                      <a:pt x="517" y="1158"/>
                    </a:cubicBezTo>
                    <a:cubicBezTo>
                      <a:pt x="76" y="947"/>
                      <a:pt x="76" y="947"/>
                      <a:pt x="76" y="947"/>
                    </a:cubicBezTo>
                    <a:cubicBezTo>
                      <a:pt x="67" y="943"/>
                      <a:pt x="61" y="935"/>
                      <a:pt x="57" y="926"/>
                    </a:cubicBezTo>
                    <a:cubicBezTo>
                      <a:pt x="54" y="917"/>
                      <a:pt x="55" y="907"/>
                      <a:pt x="59" y="899"/>
                    </a:cubicBezTo>
                    <a:cubicBezTo>
                      <a:pt x="67" y="881"/>
                      <a:pt x="89" y="873"/>
                      <a:pt x="107" y="882"/>
                    </a:cubicBezTo>
                    <a:cubicBezTo>
                      <a:pt x="561" y="1099"/>
                      <a:pt x="561" y="1099"/>
                      <a:pt x="561" y="1099"/>
                    </a:cubicBezTo>
                    <a:cubicBezTo>
                      <a:pt x="562" y="1100"/>
                      <a:pt x="564" y="1101"/>
                      <a:pt x="566" y="1103"/>
                    </a:cubicBezTo>
                    <a:cubicBezTo>
                      <a:pt x="576" y="1109"/>
                      <a:pt x="589" y="1108"/>
                      <a:pt x="596" y="1099"/>
                    </a:cubicBezTo>
                    <a:cubicBezTo>
                      <a:pt x="728" y="942"/>
                      <a:pt x="937" y="935"/>
                      <a:pt x="995" y="937"/>
                    </a:cubicBezTo>
                    <a:cubicBezTo>
                      <a:pt x="999" y="939"/>
                      <a:pt x="1003" y="939"/>
                      <a:pt x="1008" y="939"/>
                    </a:cubicBezTo>
                    <a:cubicBezTo>
                      <a:pt x="1010" y="938"/>
                      <a:pt x="1012" y="937"/>
                      <a:pt x="1014" y="936"/>
                    </a:cubicBezTo>
                    <a:cubicBezTo>
                      <a:pt x="1074" y="935"/>
                      <a:pt x="1280" y="943"/>
                      <a:pt x="1411" y="1099"/>
                    </a:cubicBezTo>
                    <a:cubicBezTo>
                      <a:pt x="1419" y="1108"/>
                      <a:pt x="1432" y="1109"/>
                      <a:pt x="1441" y="1102"/>
                    </a:cubicBezTo>
                    <a:cubicBezTo>
                      <a:pt x="1443" y="1101"/>
                      <a:pt x="1445" y="1100"/>
                      <a:pt x="1447" y="1099"/>
                    </a:cubicBezTo>
                    <a:cubicBezTo>
                      <a:pt x="1900" y="881"/>
                      <a:pt x="1900" y="881"/>
                      <a:pt x="1900" y="881"/>
                    </a:cubicBezTo>
                    <a:cubicBezTo>
                      <a:pt x="1918" y="873"/>
                      <a:pt x="1940" y="880"/>
                      <a:pt x="1948" y="898"/>
                    </a:cubicBezTo>
                    <a:cubicBezTo>
                      <a:pt x="1953" y="907"/>
                      <a:pt x="1953" y="917"/>
                      <a:pt x="1950" y="926"/>
                    </a:cubicBezTo>
                    <a:close/>
                    <a:moveTo>
                      <a:pt x="1003" y="44"/>
                    </a:moveTo>
                    <a:cubicBezTo>
                      <a:pt x="1444" y="44"/>
                      <a:pt x="1809" y="374"/>
                      <a:pt x="1865" y="801"/>
                    </a:cubicBezTo>
                    <a:cubicBezTo>
                      <a:pt x="1878" y="795"/>
                      <a:pt x="1893" y="791"/>
                      <a:pt x="1908" y="790"/>
                    </a:cubicBezTo>
                    <a:cubicBezTo>
                      <a:pt x="1881" y="593"/>
                      <a:pt x="1792" y="410"/>
                      <a:pt x="1648" y="268"/>
                    </a:cubicBezTo>
                    <a:cubicBezTo>
                      <a:pt x="1476" y="95"/>
                      <a:pt x="1247" y="0"/>
                      <a:pt x="1003" y="0"/>
                    </a:cubicBezTo>
                    <a:cubicBezTo>
                      <a:pt x="759" y="0"/>
                      <a:pt x="529" y="95"/>
                      <a:pt x="358" y="268"/>
                    </a:cubicBezTo>
                    <a:cubicBezTo>
                      <a:pt x="214" y="411"/>
                      <a:pt x="125" y="593"/>
                      <a:pt x="98" y="791"/>
                    </a:cubicBezTo>
                    <a:cubicBezTo>
                      <a:pt x="113" y="791"/>
                      <a:pt x="127" y="795"/>
                      <a:pt x="141" y="801"/>
                    </a:cubicBezTo>
                    <a:cubicBezTo>
                      <a:pt x="197" y="374"/>
                      <a:pt x="562" y="44"/>
                      <a:pt x="1003"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47"/>
              <p:cNvSpPr>
                <a:spLocks noEditPoints="1"/>
              </p:cNvSpPr>
              <p:nvPr/>
            </p:nvSpPr>
            <p:spPr bwMode="auto">
              <a:xfrm>
                <a:off x="-6502500" y="-1066292"/>
                <a:ext cx="4883149" cy="3378198"/>
              </a:xfrm>
              <a:custGeom>
                <a:avLst/>
                <a:gdLst>
                  <a:gd name="T0" fmla="*/ 98 w 1641"/>
                  <a:gd name="T1" fmla="*/ 1115 h 1135"/>
                  <a:gd name="T2" fmla="*/ 17 w 1641"/>
                  <a:gd name="T3" fmla="*/ 1016 h 1135"/>
                  <a:gd name="T4" fmla="*/ 421 w 1641"/>
                  <a:gd name="T5" fmla="*/ 278 h 1135"/>
                  <a:gd name="T6" fmla="*/ 458 w 1641"/>
                  <a:gd name="T7" fmla="*/ 209 h 1135"/>
                  <a:gd name="T8" fmla="*/ 239 w 1641"/>
                  <a:gd name="T9" fmla="*/ 241 h 1135"/>
                  <a:gd name="T10" fmla="*/ 421 w 1641"/>
                  <a:gd name="T11" fmla="*/ 278 h 1135"/>
                  <a:gd name="T12" fmla="*/ 207 w 1641"/>
                  <a:gd name="T13" fmla="*/ 274 h 1135"/>
                  <a:gd name="T14" fmla="*/ 150 w 1641"/>
                  <a:gd name="T15" fmla="*/ 805 h 1135"/>
                  <a:gd name="T16" fmla="*/ 313 w 1641"/>
                  <a:gd name="T17" fmla="*/ 770 h 1135"/>
                  <a:gd name="T18" fmla="*/ 360 w 1641"/>
                  <a:gd name="T19" fmla="*/ 343 h 1135"/>
                  <a:gd name="T20" fmla="*/ 1172 w 1641"/>
                  <a:gd name="T21" fmla="*/ 849 h 1135"/>
                  <a:gd name="T22" fmla="*/ 1284 w 1641"/>
                  <a:gd name="T23" fmla="*/ 905 h 1135"/>
                  <a:gd name="T24" fmla="*/ 1251 w 1641"/>
                  <a:gd name="T25" fmla="*/ 849 h 1135"/>
                  <a:gd name="T26" fmla="*/ 1588 w 1641"/>
                  <a:gd name="T27" fmla="*/ 1134 h 1135"/>
                  <a:gd name="T28" fmla="*/ 1455 w 1641"/>
                  <a:gd name="T29" fmla="*/ 1098 h 1135"/>
                  <a:gd name="T30" fmla="*/ 277 w 1641"/>
                  <a:gd name="T31" fmla="*/ 849 h 1135"/>
                  <a:gd name="T32" fmla="*/ 300 w 1641"/>
                  <a:gd name="T33" fmla="*/ 877 h 1135"/>
                  <a:gd name="T34" fmla="*/ 1184 w 1641"/>
                  <a:gd name="T35" fmla="*/ 209 h 1135"/>
                  <a:gd name="T36" fmla="*/ 1222 w 1641"/>
                  <a:gd name="T37" fmla="*/ 278 h 1135"/>
                  <a:gd name="T38" fmla="*/ 1403 w 1641"/>
                  <a:gd name="T39" fmla="*/ 241 h 1135"/>
                  <a:gd name="T40" fmla="*/ 1184 w 1641"/>
                  <a:gd name="T41" fmla="*/ 209 h 1135"/>
                  <a:gd name="T42" fmla="*/ 1161 w 1641"/>
                  <a:gd name="T43" fmla="*/ 334 h 1135"/>
                  <a:gd name="T44" fmla="*/ 1146 w 1641"/>
                  <a:gd name="T45" fmla="*/ 231 h 1135"/>
                  <a:gd name="T46" fmla="*/ 843 w 1641"/>
                  <a:gd name="T47" fmla="*/ 0 h 1135"/>
                  <a:gd name="T48" fmla="*/ 877 w 1641"/>
                  <a:gd name="T49" fmla="*/ 373 h 1135"/>
                  <a:gd name="T50" fmla="*/ 463 w 1641"/>
                  <a:gd name="T51" fmla="*/ 296 h 1135"/>
                  <a:gd name="T52" fmla="*/ 765 w 1641"/>
                  <a:gd name="T53" fmla="*/ 373 h 1135"/>
                  <a:gd name="T54" fmla="*/ 799 w 1641"/>
                  <a:gd name="T55" fmla="*/ 0 h 1135"/>
                  <a:gd name="T56" fmla="*/ 496 w 1641"/>
                  <a:gd name="T57" fmla="*/ 231 h 1135"/>
                  <a:gd name="T58" fmla="*/ 1493 w 1641"/>
                  <a:gd name="T59" fmla="*/ 805 h 1135"/>
                  <a:gd name="T60" fmla="*/ 1435 w 1641"/>
                  <a:gd name="T61" fmla="*/ 274 h 1135"/>
                  <a:gd name="T62" fmla="*/ 1262 w 1641"/>
                  <a:gd name="T63" fmla="*/ 386 h 1135"/>
                  <a:gd name="T64" fmla="*/ 1365 w 1641"/>
                  <a:gd name="T65" fmla="*/ 805 h 1135"/>
                  <a:gd name="T66" fmla="*/ 1401 w 1641"/>
                  <a:gd name="T67" fmla="*/ 849 h 1135"/>
                  <a:gd name="T68" fmla="*/ 1341 w 1641"/>
                  <a:gd name="T69" fmla="*/ 878 h 1135"/>
                  <a:gd name="T70" fmla="*/ 358 w 1641"/>
                  <a:gd name="T71" fmla="*/ 905 h 1135"/>
                  <a:gd name="T72" fmla="*/ 472 w 1641"/>
                  <a:gd name="T73" fmla="*/ 849 h 1135"/>
                  <a:gd name="T74" fmla="*/ 357 w 1641"/>
                  <a:gd name="T75" fmla="*/ 883 h 1135"/>
                  <a:gd name="T76" fmla="*/ 878 w 1641"/>
                  <a:gd name="T77" fmla="*/ 417 h 1135"/>
                  <a:gd name="T78" fmla="*/ 843 w 1641"/>
                  <a:gd name="T79" fmla="*/ 761 h 1135"/>
                  <a:gd name="T80" fmla="*/ 1251 w 1641"/>
                  <a:gd name="T81" fmla="*/ 805 h 1135"/>
                  <a:gd name="T82" fmla="*/ 1220 w 1641"/>
                  <a:gd name="T83" fmla="*/ 401 h 1135"/>
                  <a:gd name="T84" fmla="*/ 764 w 1641"/>
                  <a:gd name="T85" fmla="*/ 417 h 1135"/>
                  <a:gd name="T86" fmla="*/ 422 w 1641"/>
                  <a:gd name="T87" fmla="*/ 401 h 1135"/>
                  <a:gd name="T88" fmla="*/ 391 w 1641"/>
                  <a:gd name="T89" fmla="*/ 805 h 1135"/>
                  <a:gd name="T90" fmla="*/ 799 w 1641"/>
                  <a:gd name="T91" fmla="*/ 762 h 1135"/>
                  <a:gd name="T92" fmla="*/ 764 w 1641"/>
                  <a:gd name="T93" fmla="*/ 417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1" h="1135">
                    <a:moveTo>
                      <a:pt x="55" y="1135"/>
                    </a:moveTo>
                    <a:cubicBezTo>
                      <a:pt x="66" y="1123"/>
                      <a:pt x="81" y="1116"/>
                      <a:pt x="98" y="1115"/>
                    </a:cubicBezTo>
                    <a:cubicBezTo>
                      <a:pt x="131" y="1113"/>
                      <a:pt x="161" y="1107"/>
                      <a:pt x="188" y="1098"/>
                    </a:cubicBezTo>
                    <a:cubicBezTo>
                      <a:pt x="17" y="1016"/>
                      <a:pt x="17" y="1016"/>
                      <a:pt x="17" y="1016"/>
                    </a:cubicBezTo>
                    <a:cubicBezTo>
                      <a:pt x="27" y="1057"/>
                      <a:pt x="39" y="1097"/>
                      <a:pt x="55" y="1135"/>
                    </a:cubicBezTo>
                    <a:close/>
                    <a:moveTo>
                      <a:pt x="421" y="278"/>
                    </a:moveTo>
                    <a:cubicBezTo>
                      <a:pt x="422" y="278"/>
                      <a:pt x="422" y="278"/>
                      <a:pt x="422" y="278"/>
                    </a:cubicBezTo>
                    <a:cubicBezTo>
                      <a:pt x="433" y="254"/>
                      <a:pt x="445" y="231"/>
                      <a:pt x="458" y="209"/>
                    </a:cubicBezTo>
                    <a:cubicBezTo>
                      <a:pt x="501" y="133"/>
                      <a:pt x="551" y="73"/>
                      <a:pt x="605" y="29"/>
                    </a:cubicBezTo>
                    <a:cubicBezTo>
                      <a:pt x="465" y="67"/>
                      <a:pt x="339" y="141"/>
                      <a:pt x="239" y="241"/>
                    </a:cubicBezTo>
                    <a:cubicBezTo>
                      <a:pt x="280" y="263"/>
                      <a:pt x="326" y="283"/>
                      <a:pt x="373" y="301"/>
                    </a:cubicBezTo>
                    <a:cubicBezTo>
                      <a:pt x="385" y="287"/>
                      <a:pt x="402" y="278"/>
                      <a:pt x="421" y="278"/>
                    </a:cubicBezTo>
                    <a:close/>
                    <a:moveTo>
                      <a:pt x="360" y="343"/>
                    </a:moveTo>
                    <a:cubicBezTo>
                      <a:pt x="305" y="324"/>
                      <a:pt x="254" y="301"/>
                      <a:pt x="207" y="274"/>
                    </a:cubicBezTo>
                    <a:cubicBezTo>
                      <a:pt x="95" y="399"/>
                      <a:pt x="21" y="558"/>
                      <a:pt x="0" y="733"/>
                    </a:cubicBezTo>
                    <a:cubicBezTo>
                      <a:pt x="150" y="805"/>
                      <a:pt x="150" y="805"/>
                      <a:pt x="150" y="805"/>
                    </a:cubicBezTo>
                    <a:cubicBezTo>
                      <a:pt x="277" y="805"/>
                      <a:pt x="277" y="805"/>
                      <a:pt x="277" y="805"/>
                    </a:cubicBezTo>
                    <a:cubicBezTo>
                      <a:pt x="284" y="789"/>
                      <a:pt x="297" y="776"/>
                      <a:pt x="313" y="770"/>
                    </a:cubicBezTo>
                    <a:cubicBezTo>
                      <a:pt x="318" y="633"/>
                      <a:pt x="341" y="502"/>
                      <a:pt x="380" y="386"/>
                    </a:cubicBezTo>
                    <a:cubicBezTo>
                      <a:pt x="368" y="375"/>
                      <a:pt x="361" y="360"/>
                      <a:pt x="360" y="343"/>
                    </a:cubicBezTo>
                    <a:close/>
                    <a:moveTo>
                      <a:pt x="1251" y="849"/>
                    </a:moveTo>
                    <a:cubicBezTo>
                      <a:pt x="1172" y="849"/>
                      <a:pt x="1172" y="849"/>
                      <a:pt x="1172" y="849"/>
                    </a:cubicBezTo>
                    <a:cubicBezTo>
                      <a:pt x="1202" y="867"/>
                      <a:pt x="1232" y="890"/>
                      <a:pt x="1260" y="916"/>
                    </a:cubicBezTo>
                    <a:cubicBezTo>
                      <a:pt x="1284" y="905"/>
                      <a:pt x="1284" y="905"/>
                      <a:pt x="1284" y="905"/>
                    </a:cubicBezTo>
                    <a:cubicBezTo>
                      <a:pt x="1284" y="898"/>
                      <a:pt x="1284" y="890"/>
                      <a:pt x="1285" y="883"/>
                    </a:cubicBezTo>
                    <a:cubicBezTo>
                      <a:pt x="1269" y="877"/>
                      <a:pt x="1257" y="865"/>
                      <a:pt x="1251" y="849"/>
                    </a:cubicBezTo>
                    <a:close/>
                    <a:moveTo>
                      <a:pt x="1545" y="1115"/>
                    </a:moveTo>
                    <a:cubicBezTo>
                      <a:pt x="1561" y="1116"/>
                      <a:pt x="1576" y="1123"/>
                      <a:pt x="1588" y="1134"/>
                    </a:cubicBezTo>
                    <a:cubicBezTo>
                      <a:pt x="1603" y="1096"/>
                      <a:pt x="1615" y="1057"/>
                      <a:pt x="1625" y="1017"/>
                    </a:cubicBezTo>
                    <a:cubicBezTo>
                      <a:pt x="1455" y="1098"/>
                      <a:pt x="1455" y="1098"/>
                      <a:pt x="1455" y="1098"/>
                    </a:cubicBezTo>
                    <a:cubicBezTo>
                      <a:pt x="1482" y="1107"/>
                      <a:pt x="1512" y="1112"/>
                      <a:pt x="1545" y="1115"/>
                    </a:cubicBezTo>
                    <a:close/>
                    <a:moveTo>
                      <a:pt x="277" y="849"/>
                    </a:moveTo>
                    <a:cubicBezTo>
                      <a:pt x="242" y="849"/>
                      <a:pt x="242" y="849"/>
                      <a:pt x="242" y="849"/>
                    </a:cubicBezTo>
                    <a:cubicBezTo>
                      <a:pt x="300" y="877"/>
                      <a:pt x="300" y="877"/>
                      <a:pt x="300" y="877"/>
                    </a:cubicBezTo>
                    <a:cubicBezTo>
                      <a:pt x="290" y="870"/>
                      <a:pt x="282" y="860"/>
                      <a:pt x="277" y="849"/>
                    </a:cubicBezTo>
                    <a:close/>
                    <a:moveTo>
                      <a:pt x="1184" y="209"/>
                    </a:moveTo>
                    <a:cubicBezTo>
                      <a:pt x="1197" y="231"/>
                      <a:pt x="1209" y="254"/>
                      <a:pt x="1220" y="278"/>
                    </a:cubicBezTo>
                    <a:cubicBezTo>
                      <a:pt x="1220" y="278"/>
                      <a:pt x="1221" y="278"/>
                      <a:pt x="1222" y="278"/>
                    </a:cubicBezTo>
                    <a:cubicBezTo>
                      <a:pt x="1240" y="278"/>
                      <a:pt x="1257" y="287"/>
                      <a:pt x="1269" y="301"/>
                    </a:cubicBezTo>
                    <a:cubicBezTo>
                      <a:pt x="1316" y="283"/>
                      <a:pt x="1362" y="263"/>
                      <a:pt x="1403" y="241"/>
                    </a:cubicBezTo>
                    <a:cubicBezTo>
                      <a:pt x="1303" y="141"/>
                      <a:pt x="1177" y="67"/>
                      <a:pt x="1037" y="29"/>
                    </a:cubicBezTo>
                    <a:cubicBezTo>
                      <a:pt x="1091" y="73"/>
                      <a:pt x="1141" y="133"/>
                      <a:pt x="1184" y="209"/>
                    </a:cubicBezTo>
                    <a:close/>
                    <a:moveTo>
                      <a:pt x="877" y="373"/>
                    </a:moveTo>
                    <a:cubicBezTo>
                      <a:pt x="976" y="369"/>
                      <a:pt x="1072" y="356"/>
                      <a:pt x="1161" y="334"/>
                    </a:cubicBezTo>
                    <a:cubicBezTo>
                      <a:pt x="1162" y="319"/>
                      <a:pt x="1169" y="306"/>
                      <a:pt x="1179" y="296"/>
                    </a:cubicBezTo>
                    <a:cubicBezTo>
                      <a:pt x="1169" y="273"/>
                      <a:pt x="1158" y="251"/>
                      <a:pt x="1146" y="231"/>
                    </a:cubicBezTo>
                    <a:cubicBezTo>
                      <a:pt x="1078" y="112"/>
                      <a:pt x="995" y="34"/>
                      <a:pt x="904" y="4"/>
                    </a:cubicBezTo>
                    <a:cubicBezTo>
                      <a:pt x="884" y="2"/>
                      <a:pt x="864" y="1"/>
                      <a:pt x="843" y="0"/>
                    </a:cubicBezTo>
                    <a:cubicBezTo>
                      <a:pt x="843" y="339"/>
                      <a:pt x="843" y="339"/>
                      <a:pt x="843" y="339"/>
                    </a:cubicBezTo>
                    <a:cubicBezTo>
                      <a:pt x="859" y="345"/>
                      <a:pt x="871" y="357"/>
                      <a:pt x="877" y="373"/>
                    </a:cubicBezTo>
                    <a:close/>
                    <a:moveTo>
                      <a:pt x="496" y="231"/>
                    </a:moveTo>
                    <a:cubicBezTo>
                      <a:pt x="484" y="251"/>
                      <a:pt x="473" y="273"/>
                      <a:pt x="463" y="296"/>
                    </a:cubicBezTo>
                    <a:cubicBezTo>
                      <a:pt x="473" y="306"/>
                      <a:pt x="480" y="319"/>
                      <a:pt x="481" y="334"/>
                    </a:cubicBezTo>
                    <a:cubicBezTo>
                      <a:pt x="570" y="356"/>
                      <a:pt x="666" y="369"/>
                      <a:pt x="765" y="373"/>
                    </a:cubicBezTo>
                    <a:cubicBezTo>
                      <a:pt x="771" y="357"/>
                      <a:pt x="783" y="345"/>
                      <a:pt x="799" y="339"/>
                    </a:cubicBezTo>
                    <a:cubicBezTo>
                      <a:pt x="799" y="0"/>
                      <a:pt x="799" y="0"/>
                      <a:pt x="799" y="0"/>
                    </a:cubicBezTo>
                    <a:cubicBezTo>
                      <a:pt x="778" y="1"/>
                      <a:pt x="758" y="2"/>
                      <a:pt x="738" y="4"/>
                    </a:cubicBezTo>
                    <a:cubicBezTo>
                      <a:pt x="647" y="34"/>
                      <a:pt x="564" y="112"/>
                      <a:pt x="496" y="231"/>
                    </a:cubicBezTo>
                    <a:close/>
                    <a:moveTo>
                      <a:pt x="1365" y="805"/>
                    </a:moveTo>
                    <a:cubicBezTo>
                      <a:pt x="1493" y="805"/>
                      <a:pt x="1493" y="805"/>
                      <a:pt x="1493" y="805"/>
                    </a:cubicBezTo>
                    <a:cubicBezTo>
                      <a:pt x="1641" y="734"/>
                      <a:pt x="1641" y="734"/>
                      <a:pt x="1641" y="734"/>
                    </a:cubicBezTo>
                    <a:cubicBezTo>
                      <a:pt x="1621" y="558"/>
                      <a:pt x="1547" y="399"/>
                      <a:pt x="1435" y="274"/>
                    </a:cubicBezTo>
                    <a:cubicBezTo>
                      <a:pt x="1388" y="301"/>
                      <a:pt x="1337" y="324"/>
                      <a:pt x="1282" y="343"/>
                    </a:cubicBezTo>
                    <a:cubicBezTo>
                      <a:pt x="1281" y="360"/>
                      <a:pt x="1274" y="375"/>
                      <a:pt x="1262" y="386"/>
                    </a:cubicBezTo>
                    <a:cubicBezTo>
                      <a:pt x="1301" y="502"/>
                      <a:pt x="1324" y="633"/>
                      <a:pt x="1329" y="770"/>
                    </a:cubicBezTo>
                    <a:cubicBezTo>
                      <a:pt x="1345" y="776"/>
                      <a:pt x="1358" y="789"/>
                      <a:pt x="1365" y="805"/>
                    </a:cubicBezTo>
                    <a:close/>
                    <a:moveTo>
                      <a:pt x="1341" y="878"/>
                    </a:moveTo>
                    <a:cubicBezTo>
                      <a:pt x="1401" y="849"/>
                      <a:pt x="1401" y="849"/>
                      <a:pt x="1401" y="849"/>
                    </a:cubicBezTo>
                    <a:cubicBezTo>
                      <a:pt x="1365" y="849"/>
                      <a:pt x="1365" y="849"/>
                      <a:pt x="1365" y="849"/>
                    </a:cubicBezTo>
                    <a:cubicBezTo>
                      <a:pt x="1360" y="861"/>
                      <a:pt x="1351" y="871"/>
                      <a:pt x="1341" y="878"/>
                    </a:cubicBezTo>
                    <a:close/>
                    <a:moveTo>
                      <a:pt x="357" y="883"/>
                    </a:moveTo>
                    <a:cubicBezTo>
                      <a:pt x="357" y="890"/>
                      <a:pt x="358" y="898"/>
                      <a:pt x="358" y="905"/>
                    </a:cubicBezTo>
                    <a:cubicBezTo>
                      <a:pt x="383" y="917"/>
                      <a:pt x="383" y="917"/>
                      <a:pt x="383" y="917"/>
                    </a:cubicBezTo>
                    <a:cubicBezTo>
                      <a:pt x="411" y="890"/>
                      <a:pt x="441" y="867"/>
                      <a:pt x="472" y="849"/>
                    </a:cubicBezTo>
                    <a:cubicBezTo>
                      <a:pt x="391" y="849"/>
                      <a:pt x="391" y="849"/>
                      <a:pt x="391" y="849"/>
                    </a:cubicBezTo>
                    <a:cubicBezTo>
                      <a:pt x="385" y="865"/>
                      <a:pt x="373" y="877"/>
                      <a:pt x="357" y="883"/>
                    </a:cubicBezTo>
                    <a:close/>
                    <a:moveTo>
                      <a:pt x="1172" y="376"/>
                    </a:moveTo>
                    <a:cubicBezTo>
                      <a:pt x="1080" y="399"/>
                      <a:pt x="981" y="413"/>
                      <a:pt x="878" y="417"/>
                    </a:cubicBezTo>
                    <a:cubicBezTo>
                      <a:pt x="872" y="433"/>
                      <a:pt x="859" y="447"/>
                      <a:pt x="843" y="453"/>
                    </a:cubicBezTo>
                    <a:cubicBezTo>
                      <a:pt x="843" y="761"/>
                      <a:pt x="843" y="761"/>
                      <a:pt x="843" y="761"/>
                    </a:cubicBezTo>
                    <a:cubicBezTo>
                      <a:pt x="893" y="762"/>
                      <a:pt x="984" y="768"/>
                      <a:pt x="1081" y="805"/>
                    </a:cubicBezTo>
                    <a:cubicBezTo>
                      <a:pt x="1251" y="805"/>
                      <a:pt x="1251" y="805"/>
                      <a:pt x="1251" y="805"/>
                    </a:cubicBezTo>
                    <a:cubicBezTo>
                      <a:pt x="1257" y="789"/>
                      <a:pt x="1269" y="777"/>
                      <a:pt x="1285" y="771"/>
                    </a:cubicBezTo>
                    <a:cubicBezTo>
                      <a:pt x="1280" y="639"/>
                      <a:pt x="1258" y="513"/>
                      <a:pt x="1220" y="401"/>
                    </a:cubicBezTo>
                    <a:cubicBezTo>
                      <a:pt x="1201" y="401"/>
                      <a:pt x="1183" y="391"/>
                      <a:pt x="1172" y="376"/>
                    </a:cubicBezTo>
                    <a:close/>
                    <a:moveTo>
                      <a:pt x="764" y="417"/>
                    </a:moveTo>
                    <a:cubicBezTo>
                      <a:pt x="661" y="413"/>
                      <a:pt x="562" y="399"/>
                      <a:pt x="470" y="376"/>
                    </a:cubicBezTo>
                    <a:cubicBezTo>
                      <a:pt x="459" y="391"/>
                      <a:pt x="441" y="401"/>
                      <a:pt x="422" y="401"/>
                    </a:cubicBezTo>
                    <a:cubicBezTo>
                      <a:pt x="384" y="513"/>
                      <a:pt x="362" y="639"/>
                      <a:pt x="357" y="771"/>
                    </a:cubicBezTo>
                    <a:cubicBezTo>
                      <a:pt x="373" y="777"/>
                      <a:pt x="385" y="789"/>
                      <a:pt x="391" y="805"/>
                    </a:cubicBezTo>
                    <a:cubicBezTo>
                      <a:pt x="563" y="805"/>
                      <a:pt x="563" y="805"/>
                      <a:pt x="563" y="805"/>
                    </a:cubicBezTo>
                    <a:cubicBezTo>
                      <a:pt x="659" y="769"/>
                      <a:pt x="749" y="762"/>
                      <a:pt x="799" y="762"/>
                    </a:cubicBezTo>
                    <a:cubicBezTo>
                      <a:pt x="799" y="453"/>
                      <a:pt x="799" y="453"/>
                      <a:pt x="799" y="453"/>
                    </a:cubicBezTo>
                    <a:cubicBezTo>
                      <a:pt x="783" y="447"/>
                      <a:pt x="770" y="433"/>
                      <a:pt x="764" y="41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2" name="Group 71"/>
          <p:cNvGrpSpPr>
            <a:grpSpLocks noChangeAspect="1"/>
          </p:cNvGrpSpPr>
          <p:nvPr/>
        </p:nvGrpSpPr>
        <p:grpSpPr>
          <a:xfrm>
            <a:off x="4404389" y="779793"/>
            <a:ext cx="754499" cy="755198"/>
            <a:chOff x="5273803" y="2606040"/>
            <a:chExt cx="1644396" cy="1645920"/>
          </a:xfrm>
        </p:grpSpPr>
        <p:sp>
          <p:nvSpPr>
            <p:cNvPr id="73" name="AutoShape 28">
              <a:extLst>
                <a:ext uri="{FF2B5EF4-FFF2-40B4-BE49-F238E27FC236}">
                  <a16:creationId xmlns:a16="http://schemas.microsoft.com/office/drawing/2014/main" id="{E4C98EA1-A8E5-4D66-9559-F0CCEDD220F2}"/>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4" name="Group 73"/>
            <p:cNvGrpSpPr/>
            <p:nvPr/>
          </p:nvGrpSpPr>
          <p:grpSpPr>
            <a:xfrm>
              <a:off x="5444491" y="2777490"/>
              <a:ext cx="1303020" cy="1301496"/>
              <a:chOff x="5444491" y="2777490"/>
              <a:chExt cx="1303020" cy="1301496"/>
            </a:xfrm>
          </p:grpSpPr>
          <p:sp>
            <p:nvSpPr>
              <p:cNvPr id="75" name="Freeform 30">
                <a:extLst>
                  <a:ext uri="{FF2B5EF4-FFF2-40B4-BE49-F238E27FC236}">
                    <a16:creationId xmlns:a16="http://schemas.microsoft.com/office/drawing/2014/main" id="{53369029-05B5-4FE5-A235-67CFC38663B4}"/>
                  </a:ext>
                </a:extLst>
              </p:cNvPr>
              <p:cNvSpPr>
                <a:spLocks noEditPoints="1"/>
              </p:cNvSpPr>
              <p:nvPr/>
            </p:nvSpPr>
            <p:spPr bwMode="auto">
              <a:xfrm>
                <a:off x="5444491" y="2777490"/>
                <a:ext cx="1303020" cy="1301496"/>
              </a:xfrm>
              <a:custGeom>
                <a:avLst/>
                <a:gdLst>
                  <a:gd name="T0" fmla="*/ 144 w 1826"/>
                  <a:gd name="T1" fmla="*/ 288 h 1822"/>
                  <a:gd name="T2" fmla="*/ 144 w 1826"/>
                  <a:gd name="T3" fmla="*/ 0 h 1822"/>
                  <a:gd name="T4" fmla="*/ 1682 w 1826"/>
                  <a:gd name="T5" fmla="*/ 0 h 1822"/>
                  <a:gd name="T6" fmla="*/ 1682 w 1826"/>
                  <a:gd name="T7" fmla="*/ 288 h 1822"/>
                  <a:gd name="T8" fmla="*/ 1682 w 1826"/>
                  <a:gd name="T9" fmla="*/ 0 h 1822"/>
                  <a:gd name="T10" fmla="*/ 0 w 1826"/>
                  <a:gd name="T11" fmla="*/ 1678 h 1822"/>
                  <a:gd name="T12" fmla="*/ 288 w 1826"/>
                  <a:gd name="T13" fmla="*/ 1678 h 1822"/>
                  <a:gd name="T14" fmla="*/ 1682 w 1826"/>
                  <a:gd name="T15" fmla="*/ 1534 h 1822"/>
                  <a:gd name="T16" fmla="*/ 1682 w 1826"/>
                  <a:gd name="T17" fmla="*/ 1822 h 1822"/>
                  <a:gd name="T18" fmla="*/ 1682 w 1826"/>
                  <a:gd name="T19" fmla="*/ 1534 h 1822"/>
                  <a:gd name="T20" fmla="*/ 913 w 1826"/>
                  <a:gd name="T21" fmla="*/ 1577 h 1822"/>
                  <a:gd name="T22" fmla="*/ 913 w 1826"/>
                  <a:gd name="T23" fmla="*/ 245 h 1822"/>
                  <a:gd name="T24" fmla="*/ 1076 w 1826"/>
                  <a:gd name="T25" fmla="*/ 532 h 1822"/>
                  <a:gd name="T26" fmla="*/ 1183 w 1826"/>
                  <a:gd name="T27" fmla="*/ 532 h 1822"/>
                  <a:gd name="T28" fmla="*/ 1076 w 1826"/>
                  <a:gd name="T29" fmla="*/ 532 h 1822"/>
                  <a:gd name="T30" fmla="*/ 1023 w 1826"/>
                  <a:gd name="T31" fmla="*/ 950 h 1822"/>
                  <a:gd name="T32" fmla="*/ 1023 w 1826"/>
                  <a:gd name="T33" fmla="*/ 844 h 1822"/>
                  <a:gd name="T34" fmla="*/ 549 w 1826"/>
                  <a:gd name="T35" fmla="*/ 1134 h 1822"/>
                  <a:gd name="T36" fmla="*/ 443 w 1826"/>
                  <a:gd name="T37" fmla="*/ 1134 h 1822"/>
                  <a:gd name="T38" fmla="*/ 549 w 1826"/>
                  <a:gd name="T39" fmla="*/ 1134 h 1822"/>
                  <a:gd name="T40" fmla="*/ 876 w 1826"/>
                  <a:gd name="T41" fmla="*/ 576 h 1822"/>
                  <a:gd name="T42" fmla="*/ 876 w 1826"/>
                  <a:gd name="T43" fmla="*/ 544 h 1822"/>
                  <a:gd name="T44" fmla="*/ 681 w 1826"/>
                  <a:gd name="T45" fmla="*/ 380 h 1822"/>
                  <a:gd name="T46" fmla="*/ 380 w 1826"/>
                  <a:gd name="T47" fmla="*/ 690 h 1822"/>
                  <a:gd name="T48" fmla="*/ 551 w 1826"/>
                  <a:gd name="T49" fmla="*/ 870 h 1822"/>
                  <a:gd name="T50" fmla="*/ 582 w 1826"/>
                  <a:gd name="T51" fmla="*/ 870 h 1822"/>
                  <a:gd name="T52" fmla="*/ 1195 w 1826"/>
                  <a:gd name="T53" fmla="*/ 1127 h 1822"/>
                  <a:gd name="T54" fmla="*/ 757 w 1826"/>
                  <a:gd name="T55" fmla="*/ 1149 h 1822"/>
                  <a:gd name="T56" fmla="*/ 779 w 1826"/>
                  <a:gd name="T57" fmla="*/ 1403 h 1822"/>
                  <a:gd name="T58" fmla="*/ 1217 w 1826"/>
                  <a:gd name="T59" fmla="*/ 1381 h 1822"/>
                  <a:gd name="T60" fmla="*/ 1412 w 1826"/>
                  <a:gd name="T61" fmla="*/ 960 h 1822"/>
                  <a:gd name="T62" fmla="*/ 1390 w 1826"/>
                  <a:gd name="T63" fmla="*/ 706 h 1822"/>
                  <a:gd name="T64" fmla="*/ 1200 w 1826"/>
                  <a:gd name="T65" fmla="*/ 728 h 1822"/>
                  <a:gd name="T66" fmla="*/ 1222 w 1826"/>
                  <a:gd name="T67" fmla="*/ 982 h 1822"/>
                  <a:gd name="T68" fmla="*/ 1412 w 1826"/>
                  <a:gd name="T69" fmla="*/ 960 h 1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6" h="1822">
                    <a:moveTo>
                      <a:pt x="288" y="144"/>
                    </a:moveTo>
                    <a:cubicBezTo>
                      <a:pt x="288" y="224"/>
                      <a:pt x="223" y="288"/>
                      <a:pt x="144" y="288"/>
                    </a:cubicBezTo>
                    <a:cubicBezTo>
                      <a:pt x="64" y="288"/>
                      <a:pt x="0" y="224"/>
                      <a:pt x="0" y="144"/>
                    </a:cubicBezTo>
                    <a:cubicBezTo>
                      <a:pt x="0" y="65"/>
                      <a:pt x="64" y="0"/>
                      <a:pt x="144" y="0"/>
                    </a:cubicBezTo>
                    <a:cubicBezTo>
                      <a:pt x="223" y="0"/>
                      <a:pt x="288" y="65"/>
                      <a:pt x="288" y="144"/>
                    </a:cubicBezTo>
                    <a:close/>
                    <a:moveTo>
                      <a:pt x="1682" y="0"/>
                    </a:moveTo>
                    <a:cubicBezTo>
                      <a:pt x="1603" y="0"/>
                      <a:pt x="1538" y="65"/>
                      <a:pt x="1538" y="144"/>
                    </a:cubicBezTo>
                    <a:cubicBezTo>
                      <a:pt x="1538" y="224"/>
                      <a:pt x="1603" y="288"/>
                      <a:pt x="1682" y="288"/>
                    </a:cubicBezTo>
                    <a:cubicBezTo>
                      <a:pt x="1762" y="288"/>
                      <a:pt x="1826" y="224"/>
                      <a:pt x="1826" y="144"/>
                    </a:cubicBezTo>
                    <a:cubicBezTo>
                      <a:pt x="1826" y="65"/>
                      <a:pt x="1762" y="0"/>
                      <a:pt x="1682" y="0"/>
                    </a:cubicBezTo>
                    <a:close/>
                    <a:moveTo>
                      <a:pt x="144" y="1534"/>
                    </a:moveTo>
                    <a:cubicBezTo>
                      <a:pt x="64" y="1534"/>
                      <a:pt x="0" y="1598"/>
                      <a:pt x="0" y="1678"/>
                    </a:cubicBezTo>
                    <a:cubicBezTo>
                      <a:pt x="0" y="1757"/>
                      <a:pt x="64" y="1822"/>
                      <a:pt x="144" y="1822"/>
                    </a:cubicBezTo>
                    <a:cubicBezTo>
                      <a:pt x="223" y="1822"/>
                      <a:pt x="288" y="1757"/>
                      <a:pt x="288" y="1678"/>
                    </a:cubicBezTo>
                    <a:cubicBezTo>
                      <a:pt x="288" y="1598"/>
                      <a:pt x="223" y="1534"/>
                      <a:pt x="144" y="1534"/>
                    </a:cubicBezTo>
                    <a:close/>
                    <a:moveTo>
                      <a:pt x="1682" y="1534"/>
                    </a:moveTo>
                    <a:cubicBezTo>
                      <a:pt x="1603" y="1534"/>
                      <a:pt x="1538" y="1598"/>
                      <a:pt x="1538" y="1678"/>
                    </a:cubicBezTo>
                    <a:cubicBezTo>
                      <a:pt x="1538" y="1757"/>
                      <a:pt x="1603" y="1822"/>
                      <a:pt x="1682" y="1822"/>
                    </a:cubicBezTo>
                    <a:cubicBezTo>
                      <a:pt x="1762" y="1822"/>
                      <a:pt x="1826" y="1757"/>
                      <a:pt x="1826" y="1678"/>
                    </a:cubicBezTo>
                    <a:cubicBezTo>
                      <a:pt x="1826" y="1598"/>
                      <a:pt x="1762" y="1534"/>
                      <a:pt x="1682" y="1534"/>
                    </a:cubicBezTo>
                    <a:close/>
                    <a:moveTo>
                      <a:pt x="1579" y="911"/>
                    </a:moveTo>
                    <a:cubicBezTo>
                      <a:pt x="1579" y="1279"/>
                      <a:pt x="1281" y="1577"/>
                      <a:pt x="913" y="1577"/>
                    </a:cubicBezTo>
                    <a:cubicBezTo>
                      <a:pt x="545" y="1577"/>
                      <a:pt x="247" y="1279"/>
                      <a:pt x="247" y="911"/>
                    </a:cubicBezTo>
                    <a:cubicBezTo>
                      <a:pt x="247" y="543"/>
                      <a:pt x="545" y="245"/>
                      <a:pt x="913" y="245"/>
                    </a:cubicBezTo>
                    <a:cubicBezTo>
                      <a:pt x="1281" y="245"/>
                      <a:pt x="1579" y="543"/>
                      <a:pt x="1579" y="911"/>
                    </a:cubicBezTo>
                    <a:close/>
                    <a:moveTo>
                      <a:pt x="1076" y="532"/>
                    </a:moveTo>
                    <a:cubicBezTo>
                      <a:pt x="1076" y="562"/>
                      <a:pt x="1100" y="585"/>
                      <a:pt x="1129" y="585"/>
                    </a:cubicBezTo>
                    <a:cubicBezTo>
                      <a:pt x="1159" y="585"/>
                      <a:pt x="1183" y="562"/>
                      <a:pt x="1183" y="532"/>
                    </a:cubicBezTo>
                    <a:cubicBezTo>
                      <a:pt x="1183" y="503"/>
                      <a:pt x="1159" y="479"/>
                      <a:pt x="1129" y="479"/>
                    </a:cubicBezTo>
                    <a:cubicBezTo>
                      <a:pt x="1100" y="479"/>
                      <a:pt x="1076" y="503"/>
                      <a:pt x="1076" y="532"/>
                    </a:cubicBezTo>
                    <a:close/>
                    <a:moveTo>
                      <a:pt x="970" y="897"/>
                    </a:moveTo>
                    <a:cubicBezTo>
                      <a:pt x="970" y="926"/>
                      <a:pt x="994" y="950"/>
                      <a:pt x="1023" y="950"/>
                    </a:cubicBezTo>
                    <a:cubicBezTo>
                      <a:pt x="1052" y="950"/>
                      <a:pt x="1076" y="926"/>
                      <a:pt x="1076" y="897"/>
                    </a:cubicBezTo>
                    <a:cubicBezTo>
                      <a:pt x="1076" y="868"/>
                      <a:pt x="1052" y="844"/>
                      <a:pt x="1023" y="844"/>
                    </a:cubicBezTo>
                    <a:cubicBezTo>
                      <a:pt x="994" y="844"/>
                      <a:pt x="970" y="868"/>
                      <a:pt x="970" y="897"/>
                    </a:cubicBezTo>
                    <a:close/>
                    <a:moveTo>
                      <a:pt x="549" y="1134"/>
                    </a:moveTo>
                    <a:cubicBezTo>
                      <a:pt x="549" y="1105"/>
                      <a:pt x="526" y="1081"/>
                      <a:pt x="496" y="1081"/>
                    </a:cubicBezTo>
                    <a:cubicBezTo>
                      <a:pt x="467" y="1081"/>
                      <a:pt x="443" y="1105"/>
                      <a:pt x="443" y="1134"/>
                    </a:cubicBezTo>
                    <a:cubicBezTo>
                      <a:pt x="443" y="1164"/>
                      <a:pt x="467" y="1187"/>
                      <a:pt x="496" y="1187"/>
                    </a:cubicBezTo>
                    <a:cubicBezTo>
                      <a:pt x="526" y="1187"/>
                      <a:pt x="549" y="1164"/>
                      <a:pt x="549" y="1134"/>
                    </a:cubicBezTo>
                    <a:close/>
                    <a:moveTo>
                      <a:pt x="582" y="870"/>
                    </a:moveTo>
                    <a:cubicBezTo>
                      <a:pt x="876" y="576"/>
                      <a:pt x="876" y="576"/>
                      <a:pt x="876" y="576"/>
                    </a:cubicBezTo>
                    <a:cubicBezTo>
                      <a:pt x="880" y="571"/>
                      <a:pt x="883" y="566"/>
                      <a:pt x="883" y="560"/>
                    </a:cubicBezTo>
                    <a:cubicBezTo>
                      <a:pt x="883" y="554"/>
                      <a:pt x="880" y="549"/>
                      <a:pt x="876" y="544"/>
                    </a:cubicBezTo>
                    <a:cubicBezTo>
                      <a:pt x="712" y="380"/>
                      <a:pt x="712" y="380"/>
                      <a:pt x="712" y="380"/>
                    </a:cubicBezTo>
                    <a:cubicBezTo>
                      <a:pt x="704" y="372"/>
                      <a:pt x="690" y="372"/>
                      <a:pt x="681" y="380"/>
                    </a:cubicBezTo>
                    <a:cubicBezTo>
                      <a:pt x="387" y="675"/>
                      <a:pt x="387" y="675"/>
                      <a:pt x="387" y="675"/>
                    </a:cubicBezTo>
                    <a:cubicBezTo>
                      <a:pt x="383" y="679"/>
                      <a:pt x="380" y="684"/>
                      <a:pt x="380" y="690"/>
                    </a:cubicBezTo>
                    <a:cubicBezTo>
                      <a:pt x="380" y="696"/>
                      <a:pt x="383" y="701"/>
                      <a:pt x="387" y="706"/>
                    </a:cubicBezTo>
                    <a:cubicBezTo>
                      <a:pt x="551" y="870"/>
                      <a:pt x="551" y="870"/>
                      <a:pt x="551" y="870"/>
                    </a:cubicBezTo>
                    <a:cubicBezTo>
                      <a:pt x="555" y="874"/>
                      <a:pt x="561" y="876"/>
                      <a:pt x="566" y="876"/>
                    </a:cubicBezTo>
                    <a:cubicBezTo>
                      <a:pt x="572" y="876"/>
                      <a:pt x="578" y="874"/>
                      <a:pt x="582" y="870"/>
                    </a:cubicBezTo>
                    <a:close/>
                    <a:moveTo>
                      <a:pt x="1217" y="1149"/>
                    </a:moveTo>
                    <a:cubicBezTo>
                      <a:pt x="1217" y="1137"/>
                      <a:pt x="1207" y="1127"/>
                      <a:pt x="1195" y="1127"/>
                    </a:cubicBezTo>
                    <a:cubicBezTo>
                      <a:pt x="779" y="1127"/>
                      <a:pt x="779" y="1127"/>
                      <a:pt x="779" y="1127"/>
                    </a:cubicBezTo>
                    <a:cubicBezTo>
                      <a:pt x="767" y="1127"/>
                      <a:pt x="757" y="1137"/>
                      <a:pt x="757" y="1149"/>
                    </a:cubicBezTo>
                    <a:cubicBezTo>
                      <a:pt x="757" y="1381"/>
                      <a:pt x="757" y="1381"/>
                      <a:pt x="757" y="1381"/>
                    </a:cubicBezTo>
                    <a:cubicBezTo>
                      <a:pt x="757" y="1393"/>
                      <a:pt x="767" y="1403"/>
                      <a:pt x="779" y="1403"/>
                    </a:cubicBezTo>
                    <a:cubicBezTo>
                      <a:pt x="1195" y="1403"/>
                      <a:pt x="1195" y="1403"/>
                      <a:pt x="1195" y="1403"/>
                    </a:cubicBezTo>
                    <a:cubicBezTo>
                      <a:pt x="1207" y="1403"/>
                      <a:pt x="1217" y="1393"/>
                      <a:pt x="1217" y="1381"/>
                    </a:cubicBezTo>
                    <a:lnTo>
                      <a:pt x="1217" y="1149"/>
                    </a:lnTo>
                    <a:close/>
                    <a:moveTo>
                      <a:pt x="1412" y="960"/>
                    </a:moveTo>
                    <a:cubicBezTo>
                      <a:pt x="1412" y="728"/>
                      <a:pt x="1412" y="728"/>
                      <a:pt x="1412" y="728"/>
                    </a:cubicBezTo>
                    <a:cubicBezTo>
                      <a:pt x="1412" y="716"/>
                      <a:pt x="1402" y="706"/>
                      <a:pt x="1390" y="706"/>
                    </a:cubicBezTo>
                    <a:cubicBezTo>
                      <a:pt x="1222" y="706"/>
                      <a:pt x="1222" y="706"/>
                      <a:pt x="1222" y="706"/>
                    </a:cubicBezTo>
                    <a:cubicBezTo>
                      <a:pt x="1209" y="706"/>
                      <a:pt x="1200" y="716"/>
                      <a:pt x="1200" y="728"/>
                    </a:cubicBezTo>
                    <a:cubicBezTo>
                      <a:pt x="1200" y="960"/>
                      <a:pt x="1200" y="960"/>
                      <a:pt x="1200" y="960"/>
                    </a:cubicBezTo>
                    <a:cubicBezTo>
                      <a:pt x="1200" y="972"/>
                      <a:pt x="1209" y="982"/>
                      <a:pt x="1222" y="982"/>
                    </a:cubicBezTo>
                    <a:cubicBezTo>
                      <a:pt x="1390" y="982"/>
                      <a:pt x="1390" y="982"/>
                      <a:pt x="1390" y="982"/>
                    </a:cubicBezTo>
                    <a:cubicBezTo>
                      <a:pt x="1402" y="982"/>
                      <a:pt x="1412" y="972"/>
                      <a:pt x="1412" y="960"/>
                    </a:cubicBezTo>
                    <a:close/>
                  </a:path>
                </a:pathLst>
              </a:custGeom>
              <a:solidFill>
                <a:srgbClr val="0A377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31">
                <a:extLst>
                  <a:ext uri="{FF2B5EF4-FFF2-40B4-BE49-F238E27FC236}">
                    <a16:creationId xmlns:a16="http://schemas.microsoft.com/office/drawing/2014/main" id="{8FA72D8C-A344-4080-8FD3-986A1EBA5C97}"/>
                  </a:ext>
                </a:extLst>
              </p:cNvPr>
              <p:cNvSpPr>
                <a:spLocks noEditPoints="1"/>
              </p:cNvSpPr>
              <p:nvPr/>
            </p:nvSpPr>
            <p:spPr bwMode="auto">
              <a:xfrm>
                <a:off x="5476495" y="2807589"/>
                <a:ext cx="1239012" cy="1238631"/>
              </a:xfrm>
              <a:custGeom>
                <a:avLst/>
                <a:gdLst>
                  <a:gd name="T0" fmla="*/ 784 w 1736"/>
                  <a:gd name="T1" fmla="*/ 518 h 1734"/>
                  <a:gd name="T2" fmla="*/ 389 w 1736"/>
                  <a:gd name="T3" fmla="*/ 648 h 1734"/>
                  <a:gd name="T4" fmla="*/ 756 w 1736"/>
                  <a:gd name="T5" fmla="*/ 1317 h 1734"/>
                  <a:gd name="T6" fmla="*/ 1128 w 1736"/>
                  <a:gd name="T7" fmla="*/ 1129 h 1734"/>
                  <a:gd name="T8" fmla="*/ 756 w 1736"/>
                  <a:gd name="T9" fmla="*/ 1317 h 1734"/>
                  <a:gd name="T10" fmla="*/ 1323 w 1736"/>
                  <a:gd name="T11" fmla="*/ 896 h 1734"/>
                  <a:gd name="T12" fmla="*/ 1199 w 1736"/>
                  <a:gd name="T13" fmla="*/ 708 h 1734"/>
                  <a:gd name="T14" fmla="*/ 521 w 1736"/>
                  <a:gd name="T15" fmla="*/ 0 h 1734"/>
                  <a:gd name="T16" fmla="*/ 277 w 1736"/>
                  <a:gd name="T17" fmla="*/ 44 h 1734"/>
                  <a:gd name="T18" fmla="*/ 537 w 1736"/>
                  <a:gd name="T19" fmla="*/ 60 h 1734"/>
                  <a:gd name="T20" fmla="*/ 438 w 1736"/>
                  <a:gd name="T21" fmla="*/ 76 h 1734"/>
                  <a:gd name="T22" fmla="*/ 107 w 1736"/>
                  <a:gd name="T23" fmla="*/ 366 h 1734"/>
                  <a:gd name="T24" fmla="*/ 77 w 1736"/>
                  <a:gd name="T25" fmla="*/ 521 h 1734"/>
                  <a:gd name="T26" fmla="*/ 44 w 1736"/>
                  <a:gd name="T27" fmla="*/ 521 h 1734"/>
                  <a:gd name="T28" fmla="*/ 0 w 1736"/>
                  <a:gd name="T29" fmla="*/ 262 h 1734"/>
                  <a:gd name="T30" fmla="*/ 60 w 1736"/>
                  <a:gd name="T31" fmla="*/ 581 h 1734"/>
                  <a:gd name="T32" fmla="*/ 121 w 1736"/>
                  <a:gd name="T33" fmla="*/ 438 h 1734"/>
                  <a:gd name="T34" fmla="*/ 397 w 1736"/>
                  <a:gd name="T35" fmla="*/ 137 h 1734"/>
                  <a:gd name="T36" fmla="*/ 521 w 1736"/>
                  <a:gd name="T37" fmla="*/ 120 h 1734"/>
                  <a:gd name="T38" fmla="*/ 521 w 1736"/>
                  <a:gd name="T39" fmla="*/ 0 h 1734"/>
                  <a:gd name="T40" fmla="*/ 1692 w 1736"/>
                  <a:gd name="T41" fmla="*/ 521 h 1734"/>
                  <a:gd name="T42" fmla="*/ 1659 w 1736"/>
                  <a:gd name="T43" fmla="*/ 521 h 1734"/>
                  <a:gd name="T44" fmla="*/ 1635 w 1736"/>
                  <a:gd name="T45" fmla="*/ 372 h 1734"/>
                  <a:gd name="T46" fmla="*/ 1306 w 1736"/>
                  <a:gd name="T47" fmla="*/ 76 h 1734"/>
                  <a:gd name="T48" fmla="*/ 1199 w 1736"/>
                  <a:gd name="T49" fmla="*/ 60 h 1734"/>
                  <a:gd name="T50" fmla="*/ 1459 w 1736"/>
                  <a:gd name="T51" fmla="*/ 44 h 1734"/>
                  <a:gd name="T52" fmla="*/ 1215 w 1736"/>
                  <a:gd name="T53" fmla="*/ 0 h 1734"/>
                  <a:gd name="T54" fmla="*/ 1215 w 1736"/>
                  <a:gd name="T55" fmla="*/ 120 h 1734"/>
                  <a:gd name="T56" fmla="*/ 1333 w 1736"/>
                  <a:gd name="T57" fmla="*/ 131 h 1734"/>
                  <a:gd name="T58" fmla="*/ 1615 w 1736"/>
                  <a:gd name="T59" fmla="*/ 430 h 1734"/>
                  <a:gd name="T60" fmla="*/ 1676 w 1736"/>
                  <a:gd name="T61" fmla="*/ 581 h 1734"/>
                  <a:gd name="T62" fmla="*/ 1736 w 1736"/>
                  <a:gd name="T63" fmla="*/ 262 h 1734"/>
                  <a:gd name="T64" fmla="*/ 521 w 1736"/>
                  <a:gd name="T65" fmla="*/ 1614 h 1734"/>
                  <a:gd name="T66" fmla="*/ 397 w 1736"/>
                  <a:gd name="T67" fmla="*/ 1597 h 1734"/>
                  <a:gd name="T68" fmla="*/ 121 w 1736"/>
                  <a:gd name="T69" fmla="*/ 1296 h 1734"/>
                  <a:gd name="T70" fmla="*/ 60 w 1736"/>
                  <a:gd name="T71" fmla="*/ 1153 h 1734"/>
                  <a:gd name="T72" fmla="*/ 0 w 1736"/>
                  <a:gd name="T73" fmla="*/ 1476 h 1734"/>
                  <a:gd name="T74" fmla="*/ 44 w 1736"/>
                  <a:gd name="T75" fmla="*/ 1213 h 1734"/>
                  <a:gd name="T76" fmla="*/ 77 w 1736"/>
                  <a:gd name="T77" fmla="*/ 1213 h 1734"/>
                  <a:gd name="T78" fmla="*/ 107 w 1736"/>
                  <a:gd name="T79" fmla="*/ 1368 h 1734"/>
                  <a:gd name="T80" fmla="*/ 438 w 1736"/>
                  <a:gd name="T81" fmla="*/ 1658 h 1734"/>
                  <a:gd name="T82" fmla="*/ 537 w 1736"/>
                  <a:gd name="T83" fmla="*/ 1674 h 1734"/>
                  <a:gd name="T84" fmla="*/ 279 w 1736"/>
                  <a:gd name="T85" fmla="*/ 1690 h 1734"/>
                  <a:gd name="T86" fmla="*/ 521 w 1736"/>
                  <a:gd name="T87" fmla="*/ 1734 h 1734"/>
                  <a:gd name="T88" fmla="*/ 521 w 1736"/>
                  <a:gd name="T89" fmla="*/ 1614 h 1734"/>
                  <a:gd name="T90" fmla="*/ 1215 w 1736"/>
                  <a:gd name="T91" fmla="*/ 1690 h 1734"/>
                  <a:gd name="T92" fmla="*/ 1215 w 1736"/>
                  <a:gd name="T93" fmla="*/ 1658 h 1734"/>
                  <a:gd name="T94" fmla="*/ 1370 w 1736"/>
                  <a:gd name="T95" fmla="*/ 1628 h 1734"/>
                  <a:gd name="T96" fmla="*/ 1659 w 1736"/>
                  <a:gd name="T97" fmla="*/ 1296 h 1734"/>
                  <a:gd name="T98" fmla="*/ 1676 w 1736"/>
                  <a:gd name="T99" fmla="*/ 1197 h 1734"/>
                  <a:gd name="T100" fmla="*/ 1692 w 1736"/>
                  <a:gd name="T101" fmla="*/ 1456 h 1734"/>
                  <a:gd name="T102" fmla="*/ 1736 w 1736"/>
                  <a:gd name="T103" fmla="*/ 1213 h 1734"/>
                  <a:gd name="T104" fmla="*/ 1615 w 1736"/>
                  <a:gd name="T105" fmla="*/ 1213 h 1734"/>
                  <a:gd name="T106" fmla="*/ 1598 w 1736"/>
                  <a:gd name="T107" fmla="*/ 1337 h 1734"/>
                  <a:gd name="T108" fmla="*/ 1298 w 1736"/>
                  <a:gd name="T109" fmla="*/ 1614 h 1734"/>
                  <a:gd name="T110" fmla="*/ 1155 w 1736"/>
                  <a:gd name="T111" fmla="*/ 1674 h 1734"/>
                  <a:gd name="T112" fmla="*/ 1477 w 1736"/>
                  <a:gd name="T113" fmla="*/ 1734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1734">
                    <a:moveTo>
                      <a:pt x="652" y="385"/>
                    </a:moveTo>
                    <a:cubicBezTo>
                      <a:pt x="784" y="518"/>
                      <a:pt x="784" y="518"/>
                      <a:pt x="784" y="518"/>
                    </a:cubicBezTo>
                    <a:cubicBezTo>
                      <a:pt x="521" y="781"/>
                      <a:pt x="521" y="781"/>
                      <a:pt x="521" y="781"/>
                    </a:cubicBezTo>
                    <a:cubicBezTo>
                      <a:pt x="389" y="648"/>
                      <a:pt x="389" y="648"/>
                      <a:pt x="389" y="648"/>
                    </a:cubicBezTo>
                    <a:lnTo>
                      <a:pt x="652" y="385"/>
                    </a:lnTo>
                    <a:close/>
                    <a:moveTo>
                      <a:pt x="756" y="1317"/>
                    </a:moveTo>
                    <a:cubicBezTo>
                      <a:pt x="1128" y="1317"/>
                      <a:pt x="1128" y="1317"/>
                      <a:pt x="1128" y="1317"/>
                    </a:cubicBezTo>
                    <a:cubicBezTo>
                      <a:pt x="1128" y="1129"/>
                      <a:pt x="1128" y="1129"/>
                      <a:pt x="1128" y="1129"/>
                    </a:cubicBezTo>
                    <a:cubicBezTo>
                      <a:pt x="756" y="1129"/>
                      <a:pt x="756" y="1129"/>
                      <a:pt x="756" y="1129"/>
                    </a:cubicBezTo>
                    <a:lnTo>
                      <a:pt x="756" y="1317"/>
                    </a:lnTo>
                    <a:close/>
                    <a:moveTo>
                      <a:pt x="1199" y="896"/>
                    </a:moveTo>
                    <a:cubicBezTo>
                      <a:pt x="1323" y="896"/>
                      <a:pt x="1323" y="896"/>
                      <a:pt x="1323" y="896"/>
                    </a:cubicBezTo>
                    <a:cubicBezTo>
                      <a:pt x="1323" y="708"/>
                      <a:pt x="1323" y="708"/>
                      <a:pt x="1323" y="708"/>
                    </a:cubicBezTo>
                    <a:cubicBezTo>
                      <a:pt x="1199" y="708"/>
                      <a:pt x="1199" y="708"/>
                      <a:pt x="1199" y="708"/>
                    </a:cubicBezTo>
                    <a:lnTo>
                      <a:pt x="1199" y="896"/>
                    </a:lnTo>
                    <a:close/>
                    <a:moveTo>
                      <a:pt x="521" y="0"/>
                    </a:moveTo>
                    <a:cubicBezTo>
                      <a:pt x="256" y="0"/>
                      <a:pt x="256" y="0"/>
                      <a:pt x="256" y="0"/>
                    </a:cubicBezTo>
                    <a:cubicBezTo>
                      <a:pt x="265" y="13"/>
                      <a:pt x="272" y="28"/>
                      <a:pt x="277" y="44"/>
                    </a:cubicBezTo>
                    <a:cubicBezTo>
                      <a:pt x="521" y="44"/>
                      <a:pt x="521" y="44"/>
                      <a:pt x="521" y="44"/>
                    </a:cubicBezTo>
                    <a:cubicBezTo>
                      <a:pt x="530" y="44"/>
                      <a:pt x="537" y="51"/>
                      <a:pt x="537" y="60"/>
                    </a:cubicBezTo>
                    <a:cubicBezTo>
                      <a:pt x="537" y="69"/>
                      <a:pt x="530" y="76"/>
                      <a:pt x="521" y="76"/>
                    </a:cubicBezTo>
                    <a:cubicBezTo>
                      <a:pt x="438" y="76"/>
                      <a:pt x="438" y="76"/>
                      <a:pt x="438" y="76"/>
                    </a:cubicBezTo>
                    <a:cubicBezTo>
                      <a:pt x="411" y="76"/>
                      <a:pt x="386" y="87"/>
                      <a:pt x="366" y="106"/>
                    </a:cubicBezTo>
                    <a:cubicBezTo>
                      <a:pt x="107" y="366"/>
                      <a:pt x="107" y="366"/>
                      <a:pt x="107" y="366"/>
                    </a:cubicBezTo>
                    <a:cubicBezTo>
                      <a:pt x="87" y="385"/>
                      <a:pt x="77" y="411"/>
                      <a:pt x="77" y="438"/>
                    </a:cubicBezTo>
                    <a:cubicBezTo>
                      <a:pt x="77" y="521"/>
                      <a:pt x="77" y="521"/>
                      <a:pt x="77" y="521"/>
                    </a:cubicBezTo>
                    <a:cubicBezTo>
                      <a:pt x="77" y="530"/>
                      <a:pt x="69" y="537"/>
                      <a:pt x="60" y="537"/>
                    </a:cubicBezTo>
                    <a:cubicBezTo>
                      <a:pt x="51" y="537"/>
                      <a:pt x="44" y="530"/>
                      <a:pt x="44" y="521"/>
                    </a:cubicBezTo>
                    <a:cubicBezTo>
                      <a:pt x="44" y="282"/>
                      <a:pt x="44" y="282"/>
                      <a:pt x="44" y="282"/>
                    </a:cubicBezTo>
                    <a:cubicBezTo>
                      <a:pt x="28" y="277"/>
                      <a:pt x="14" y="271"/>
                      <a:pt x="0" y="262"/>
                    </a:cubicBezTo>
                    <a:cubicBezTo>
                      <a:pt x="0" y="521"/>
                      <a:pt x="0" y="521"/>
                      <a:pt x="0" y="521"/>
                    </a:cubicBezTo>
                    <a:cubicBezTo>
                      <a:pt x="0" y="554"/>
                      <a:pt x="27" y="581"/>
                      <a:pt x="60" y="581"/>
                    </a:cubicBezTo>
                    <a:cubicBezTo>
                      <a:pt x="94" y="581"/>
                      <a:pt x="121" y="554"/>
                      <a:pt x="121" y="521"/>
                    </a:cubicBezTo>
                    <a:cubicBezTo>
                      <a:pt x="121" y="438"/>
                      <a:pt x="121" y="438"/>
                      <a:pt x="121" y="438"/>
                    </a:cubicBezTo>
                    <a:cubicBezTo>
                      <a:pt x="121" y="423"/>
                      <a:pt x="127" y="408"/>
                      <a:pt x="138" y="397"/>
                    </a:cubicBezTo>
                    <a:cubicBezTo>
                      <a:pt x="397" y="137"/>
                      <a:pt x="397" y="137"/>
                      <a:pt x="397" y="137"/>
                    </a:cubicBezTo>
                    <a:cubicBezTo>
                      <a:pt x="408" y="126"/>
                      <a:pt x="423" y="120"/>
                      <a:pt x="438" y="120"/>
                    </a:cubicBezTo>
                    <a:cubicBezTo>
                      <a:pt x="521" y="120"/>
                      <a:pt x="521" y="120"/>
                      <a:pt x="521" y="120"/>
                    </a:cubicBezTo>
                    <a:cubicBezTo>
                      <a:pt x="554" y="120"/>
                      <a:pt x="581" y="93"/>
                      <a:pt x="581" y="60"/>
                    </a:cubicBezTo>
                    <a:cubicBezTo>
                      <a:pt x="581" y="27"/>
                      <a:pt x="554" y="0"/>
                      <a:pt x="521" y="0"/>
                    </a:cubicBezTo>
                    <a:close/>
                    <a:moveTo>
                      <a:pt x="1692" y="282"/>
                    </a:moveTo>
                    <a:cubicBezTo>
                      <a:pt x="1692" y="521"/>
                      <a:pt x="1692" y="521"/>
                      <a:pt x="1692" y="521"/>
                    </a:cubicBezTo>
                    <a:cubicBezTo>
                      <a:pt x="1692" y="530"/>
                      <a:pt x="1685" y="537"/>
                      <a:pt x="1676" y="537"/>
                    </a:cubicBezTo>
                    <a:cubicBezTo>
                      <a:pt x="1667" y="537"/>
                      <a:pt x="1659" y="530"/>
                      <a:pt x="1659" y="521"/>
                    </a:cubicBezTo>
                    <a:cubicBezTo>
                      <a:pt x="1659" y="430"/>
                      <a:pt x="1659" y="430"/>
                      <a:pt x="1659" y="430"/>
                    </a:cubicBezTo>
                    <a:cubicBezTo>
                      <a:pt x="1659" y="408"/>
                      <a:pt x="1651" y="387"/>
                      <a:pt x="1635" y="372"/>
                    </a:cubicBezTo>
                    <a:cubicBezTo>
                      <a:pt x="1581" y="318"/>
                      <a:pt x="1418" y="154"/>
                      <a:pt x="1364" y="100"/>
                    </a:cubicBezTo>
                    <a:cubicBezTo>
                      <a:pt x="1348" y="85"/>
                      <a:pt x="1328" y="76"/>
                      <a:pt x="1306" y="76"/>
                    </a:cubicBezTo>
                    <a:cubicBezTo>
                      <a:pt x="1215" y="76"/>
                      <a:pt x="1215" y="76"/>
                      <a:pt x="1215" y="76"/>
                    </a:cubicBezTo>
                    <a:cubicBezTo>
                      <a:pt x="1206" y="76"/>
                      <a:pt x="1199" y="69"/>
                      <a:pt x="1199" y="60"/>
                    </a:cubicBezTo>
                    <a:cubicBezTo>
                      <a:pt x="1199" y="51"/>
                      <a:pt x="1206" y="44"/>
                      <a:pt x="1215" y="44"/>
                    </a:cubicBezTo>
                    <a:cubicBezTo>
                      <a:pt x="1459" y="44"/>
                      <a:pt x="1459" y="44"/>
                      <a:pt x="1459" y="44"/>
                    </a:cubicBezTo>
                    <a:cubicBezTo>
                      <a:pt x="1464" y="28"/>
                      <a:pt x="1471" y="13"/>
                      <a:pt x="1480" y="0"/>
                    </a:cubicBezTo>
                    <a:cubicBezTo>
                      <a:pt x="1215" y="0"/>
                      <a:pt x="1215" y="0"/>
                      <a:pt x="1215" y="0"/>
                    </a:cubicBezTo>
                    <a:cubicBezTo>
                      <a:pt x="1182" y="0"/>
                      <a:pt x="1155" y="27"/>
                      <a:pt x="1155" y="60"/>
                    </a:cubicBezTo>
                    <a:cubicBezTo>
                      <a:pt x="1155" y="93"/>
                      <a:pt x="1182" y="120"/>
                      <a:pt x="1215" y="120"/>
                    </a:cubicBezTo>
                    <a:cubicBezTo>
                      <a:pt x="1306" y="120"/>
                      <a:pt x="1306" y="120"/>
                      <a:pt x="1306" y="120"/>
                    </a:cubicBezTo>
                    <a:cubicBezTo>
                      <a:pt x="1316" y="120"/>
                      <a:pt x="1326" y="124"/>
                      <a:pt x="1333" y="131"/>
                    </a:cubicBezTo>
                    <a:cubicBezTo>
                      <a:pt x="1387" y="185"/>
                      <a:pt x="1550" y="349"/>
                      <a:pt x="1604" y="403"/>
                    </a:cubicBezTo>
                    <a:cubicBezTo>
                      <a:pt x="1611" y="410"/>
                      <a:pt x="1615" y="420"/>
                      <a:pt x="1615" y="430"/>
                    </a:cubicBezTo>
                    <a:cubicBezTo>
                      <a:pt x="1615" y="521"/>
                      <a:pt x="1615" y="521"/>
                      <a:pt x="1615" y="521"/>
                    </a:cubicBezTo>
                    <a:cubicBezTo>
                      <a:pt x="1615" y="554"/>
                      <a:pt x="1642" y="581"/>
                      <a:pt x="1676" y="581"/>
                    </a:cubicBezTo>
                    <a:cubicBezTo>
                      <a:pt x="1709" y="581"/>
                      <a:pt x="1736" y="554"/>
                      <a:pt x="1736" y="521"/>
                    </a:cubicBezTo>
                    <a:cubicBezTo>
                      <a:pt x="1736" y="262"/>
                      <a:pt x="1736" y="262"/>
                      <a:pt x="1736" y="262"/>
                    </a:cubicBezTo>
                    <a:cubicBezTo>
                      <a:pt x="1722" y="271"/>
                      <a:pt x="1708" y="277"/>
                      <a:pt x="1692" y="282"/>
                    </a:cubicBezTo>
                    <a:close/>
                    <a:moveTo>
                      <a:pt x="521" y="1614"/>
                    </a:moveTo>
                    <a:cubicBezTo>
                      <a:pt x="438" y="1614"/>
                      <a:pt x="438" y="1614"/>
                      <a:pt x="438" y="1614"/>
                    </a:cubicBezTo>
                    <a:cubicBezTo>
                      <a:pt x="423" y="1614"/>
                      <a:pt x="408" y="1608"/>
                      <a:pt x="397" y="1597"/>
                    </a:cubicBezTo>
                    <a:cubicBezTo>
                      <a:pt x="138" y="1337"/>
                      <a:pt x="138" y="1337"/>
                      <a:pt x="138" y="1337"/>
                    </a:cubicBezTo>
                    <a:cubicBezTo>
                      <a:pt x="127" y="1326"/>
                      <a:pt x="121" y="1311"/>
                      <a:pt x="121" y="1296"/>
                    </a:cubicBezTo>
                    <a:cubicBezTo>
                      <a:pt x="121" y="1213"/>
                      <a:pt x="121" y="1213"/>
                      <a:pt x="121" y="1213"/>
                    </a:cubicBezTo>
                    <a:cubicBezTo>
                      <a:pt x="121" y="1180"/>
                      <a:pt x="94" y="1153"/>
                      <a:pt x="60" y="1153"/>
                    </a:cubicBezTo>
                    <a:cubicBezTo>
                      <a:pt x="27" y="1153"/>
                      <a:pt x="0" y="1180"/>
                      <a:pt x="0" y="1213"/>
                    </a:cubicBezTo>
                    <a:cubicBezTo>
                      <a:pt x="0" y="1476"/>
                      <a:pt x="0" y="1476"/>
                      <a:pt x="0" y="1476"/>
                    </a:cubicBezTo>
                    <a:cubicBezTo>
                      <a:pt x="14" y="1467"/>
                      <a:pt x="28" y="1461"/>
                      <a:pt x="44" y="1456"/>
                    </a:cubicBezTo>
                    <a:cubicBezTo>
                      <a:pt x="44" y="1213"/>
                      <a:pt x="44" y="1213"/>
                      <a:pt x="44" y="1213"/>
                    </a:cubicBezTo>
                    <a:cubicBezTo>
                      <a:pt x="44" y="1204"/>
                      <a:pt x="51" y="1197"/>
                      <a:pt x="60" y="1197"/>
                    </a:cubicBezTo>
                    <a:cubicBezTo>
                      <a:pt x="69" y="1197"/>
                      <a:pt x="77" y="1204"/>
                      <a:pt x="77" y="1213"/>
                    </a:cubicBezTo>
                    <a:cubicBezTo>
                      <a:pt x="77" y="1296"/>
                      <a:pt x="77" y="1296"/>
                      <a:pt x="77" y="1296"/>
                    </a:cubicBezTo>
                    <a:cubicBezTo>
                      <a:pt x="77" y="1323"/>
                      <a:pt x="87" y="1349"/>
                      <a:pt x="107" y="1368"/>
                    </a:cubicBezTo>
                    <a:cubicBezTo>
                      <a:pt x="366" y="1628"/>
                      <a:pt x="366" y="1628"/>
                      <a:pt x="366" y="1628"/>
                    </a:cubicBezTo>
                    <a:cubicBezTo>
                      <a:pt x="386" y="1647"/>
                      <a:pt x="411" y="1658"/>
                      <a:pt x="438" y="1658"/>
                    </a:cubicBezTo>
                    <a:cubicBezTo>
                      <a:pt x="521" y="1658"/>
                      <a:pt x="521" y="1658"/>
                      <a:pt x="521" y="1658"/>
                    </a:cubicBezTo>
                    <a:cubicBezTo>
                      <a:pt x="530" y="1658"/>
                      <a:pt x="537" y="1665"/>
                      <a:pt x="537" y="1674"/>
                    </a:cubicBezTo>
                    <a:cubicBezTo>
                      <a:pt x="537" y="1683"/>
                      <a:pt x="530" y="1690"/>
                      <a:pt x="521" y="1690"/>
                    </a:cubicBezTo>
                    <a:cubicBezTo>
                      <a:pt x="279" y="1690"/>
                      <a:pt x="279" y="1690"/>
                      <a:pt x="279" y="1690"/>
                    </a:cubicBezTo>
                    <a:cubicBezTo>
                      <a:pt x="274" y="1706"/>
                      <a:pt x="267" y="1721"/>
                      <a:pt x="259" y="1734"/>
                    </a:cubicBezTo>
                    <a:cubicBezTo>
                      <a:pt x="521" y="1734"/>
                      <a:pt x="521" y="1734"/>
                      <a:pt x="521" y="1734"/>
                    </a:cubicBezTo>
                    <a:cubicBezTo>
                      <a:pt x="554" y="1734"/>
                      <a:pt x="581" y="1707"/>
                      <a:pt x="581" y="1674"/>
                    </a:cubicBezTo>
                    <a:cubicBezTo>
                      <a:pt x="581" y="1641"/>
                      <a:pt x="554" y="1614"/>
                      <a:pt x="521" y="1614"/>
                    </a:cubicBezTo>
                    <a:close/>
                    <a:moveTo>
                      <a:pt x="1457" y="1690"/>
                    </a:moveTo>
                    <a:cubicBezTo>
                      <a:pt x="1215" y="1690"/>
                      <a:pt x="1215" y="1690"/>
                      <a:pt x="1215" y="1690"/>
                    </a:cubicBezTo>
                    <a:cubicBezTo>
                      <a:pt x="1206" y="1690"/>
                      <a:pt x="1199" y="1683"/>
                      <a:pt x="1199" y="1674"/>
                    </a:cubicBezTo>
                    <a:cubicBezTo>
                      <a:pt x="1199" y="1665"/>
                      <a:pt x="1206" y="1658"/>
                      <a:pt x="1215" y="1658"/>
                    </a:cubicBezTo>
                    <a:cubicBezTo>
                      <a:pt x="1298" y="1658"/>
                      <a:pt x="1298" y="1658"/>
                      <a:pt x="1298" y="1658"/>
                    </a:cubicBezTo>
                    <a:cubicBezTo>
                      <a:pt x="1325" y="1658"/>
                      <a:pt x="1350" y="1647"/>
                      <a:pt x="1370" y="1628"/>
                    </a:cubicBezTo>
                    <a:cubicBezTo>
                      <a:pt x="1629" y="1368"/>
                      <a:pt x="1629" y="1368"/>
                      <a:pt x="1629" y="1368"/>
                    </a:cubicBezTo>
                    <a:cubicBezTo>
                      <a:pt x="1649" y="1349"/>
                      <a:pt x="1659" y="1323"/>
                      <a:pt x="1659" y="1296"/>
                    </a:cubicBezTo>
                    <a:cubicBezTo>
                      <a:pt x="1659" y="1213"/>
                      <a:pt x="1659" y="1213"/>
                      <a:pt x="1659" y="1213"/>
                    </a:cubicBezTo>
                    <a:cubicBezTo>
                      <a:pt x="1659" y="1204"/>
                      <a:pt x="1667" y="1197"/>
                      <a:pt x="1676" y="1197"/>
                    </a:cubicBezTo>
                    <a:cubicBezTo>
                      <a:pt x="1685" y="1197"/>
                      <a:pt x="1692" y="1204"/>
                      <a:pt x="1692" y="1213"/>
                    </a:cubicBezTo>
                    <a:cubicBezTo>
                      <a:pt x="1692" y="1456"/>
                      <a:pt x="1692" y="1456"/>
                      <a:pt x="1692" y="1456"/>
                    </a:cubicBezTo>
                    <a:cubicBezTo>
                      <a:pt x="1708" y="1461"/>
                      <a:pt x="1722" y="1467"/>
                      <a:pt x="1736" y="1476"/>
                    </a:cubicBezTo>
                    <a:cubicBezTo>
                      <a:pt x="1736" y="1213"/>
                      <a:pt x="1736" y="1213"/>
                      <a:pt x="1736" y="1213"/>
                    </a:cubicBezTo>
                    <a:cubicBezTo>
                      <a:pt x="1736" y="1180"/>
                      <a:pt x="1709" y="1153"/>
                      <a:pt x="1676" y="1153"/>
                    </a:cubicBezTo>
                    <a:cubicBezTo>
                      <a:pt x="1642" y="1153"/>
                      <a:pt x="1615" y="1180"/>
                      <a:pt x="1615" y="1213"/>
                    </a:cubicBezTo>
                    <a:cubicBezTo>
                      <a:pt x="1615" y="1296"/>
                      <a:pt x="1615" y="1296"/>
                      <a:pt x="1615" y="1296"/>
                    </a:cubicBezTo>
                    <a:cubicBezTo>
                      <a:pt x="1615" y="1311"/>
                      <a:pt x="1609" y="1326"/>
                      <a:pt x="1598" y="1337"/>
                    </a:cubicBezTo>
                    <a:cubicBezTo>
                      <a:pt x="1339" y="1597"/>
                      <a:pt x="1339" y="1597"/>
                      <a:pt x="1339" y="1597"/>
                    </a:cubicBezTo>
                    <a:cubicBezTo>
                      <a:pt x="1328" y="1608"/>
                      <a:pt x="1313" y="1614"/>
                      <a:pt x="1298" y="1614"/>
                    </a:cubicBezTo>
                    <a:cubicBezTo>
                      <a:pt x="1215" y="1614"/>
                      <a:pt x="1215" y="1614"/>
                      <a:pt x="1215" y="1614"/>
                    </a:cubicBezTo>
                    <a:cubicBezTo>
                      <a:pt x="1182" y="1614"/>
                      <a:pt x="1155" y="1641"/>
                      <a:pt x="1155" y="1674"/>
                    </a:cubicBezTo>
                    <a:cubicBezTo>
                      <a:pt x="1155" y="1707"/>
                      <a:pt x="1182" y="1734"/>
                      <a:pt x="1215" y="1734"/>
                    </a:cubicBezTo>
                    <a:cubicBezTo>
                      <a:pt x="1477" y="1734"/>
                      <a:pt x="1477" y="1734"/>
                      <a:pt x="1477" y="1734"/>
                    </a:cubicBezTo>
                    <a:cubicBezTo>
                      <a:pt x="1469" y="1721"/>
                      <a:pt x="1462" y="1706"/>
                      <a:pt x="1457" y="1690"/>
                    </a:cubicBezTo>
                    <a:close/>
                  </a:path>
                </a:pathLst>
              </a:custGeom>
              <a:solidFill>
                <a:srgbClr val="051934">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66" name="ee4pFootnotes">
            <a:extLst>
              <a:ext uri="{FF2B5EF4-FFF2-40B4-BE49-F238E27FC236}">
                <a16:creationId xmlns:a16="http://schemas.microsoft.com/office/drawing/2014/main" id="{E589185F-2EC8-49D2-A99D-FD0D9939098A}"/>
              </a:ext>
            </a:extLst>
          </p:cNvPr>
          <p:cNvSpPr>
            <a:spLocks noChangeArrowheads="1"/>
          </p:cNvSpPr>
          <p:nvPr/>
        </p:nvSpPr>
        <p:spPr bwMode="auto">
          <a:xfrm>
            <a:off x="3939787" y="6290458"/>
            <a:ext cx="751265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1. See DHS, </a:t>
            </a:r>
            <a:r>
              <a:rPr lang="en-US" sz="1000" dirty="0">
                <a:solidFill>
                  <a:srgbClr val="000000"/>
                </a:solidFill>
                <a:latin typeface="Calibri" panose="020F0502020204030204" pitchFamily="34" charset="0"/>
                <a:sym typeface="+mn-lt"/>
                <a:hlinkClick r:id="rId8">
                  <a:extLst>
                    <a:ext uri="{A12FA001-AC4F-418D-AE19-62706E023703}">
                      <ahyp:hlinkClr xmlns:ahyp="http://schemas.microsoft.com/office/drawing/2018/hyperlinkcolor" xmlns="" val="tx"/>
                    </a:ext>
                  </a:extLst>
                </a:hlinkClick>
              </a:rPr>
              <a:t>Guidance on the Essential Critical Infrastructure Workforce: Ensuring Community and National Resilience in COVID-19 Response</a:t>
            </a:r>
            <a:r>
              <a:rPr lang="en-US" sz="1000" dirty="0">
                <a:solidFill>
                  <a:srgbClr val="000000"/>
                </a:solidFill>
                <a:latin typeface="Calibri" panose="020F0502020204030204" pitchFamily="34" charset="0"/>
                <a:sym typeface="+mn-lt"/>
              </a:rPr>
              <a:t> and CDC  </a:t>
            </a:r>
            <a:r>
              <a:rPr lang="en-US" sz="1000" dirty="0">
                <a:solidFill>
                  <a:srgbClr val="000000"/>
                </a:solidFill>
                <a:latin typeface="Calibri" panose="020F0502020204030204" pitchFamily="34" charset="0"/>
                <a:sym typeface="+mn-lt"/>
                <a:hlinkClick r:id="rId9">
                  <a:extLst>
                    <a:ext uri="{A12FA001-AC4F-418D-AE19-62706E023703}">
                      <ahyp:hlinkClr xmlns:ahyp="http://schemas.microsoft.com/office/drawing/2018/hyperlinkcolor" xmlns="" val="tx"/>
                    </a:ext>
                  </a:extLst>
                </a:hlinkClick>
              </a:rPr>
              <a:t>guidelines for those living in close quarters</a:t>
            </a:r>
            <a:r>
              <a:rPr lang="en-US" sz="1000" dirty="0">
                <a:solidFill>
                  <a:srgbClr val="000000"/>
                </a:solidFill>
                <a:latin typeface="Calibri" panose="020F0502020204030204" pitchFamily="34" charset="0"/>
                <a:sym typeface="+mn-lt"/>
              </a:rPr>
              <a:t>, </a:t>
            </a:r>
            <a:r>
              <a:rPr lang="en-US" sz="1000" dirty="0">
                <a:solidFill>
                  <a:srgbClr val="000000"/>
                </a:solidFill>
                <a:latin typeface="Calibri" panose="020F0502020204030204" pitchFamily="34" charset="0"/>
                <a:sym typeface="+mn-lt"/>
                <a:hlinkClick r:id="rId10">
                  <a:extLst>
                    <a:ext uri="{A12FA001-AC4F-418D-AE19-62706E023703}">
                      <ahyp:hlinkClr xmlns:ahyp="http://schemas.microsoft.com/office/drawing/2018/hyperlinkcolor" xmlns="" val="tx"/>
                    </a:ext>
                  </a:extLst>
                </a:hlinkClick>
              </a:rPr>
              <a:t>shelters</a:t>
            </a:r>
            <a:r>
              <a:rPr lang="en-US" sz="1000" dirty="0">
                <a:solidFill>
                  <a:srgbClr val="000000"/>
                </a:solidFill>
                <a:latin typeface="Calibri" panose="020F0502020204030204" pitchFamily="34" charset="0"/>
                <a:sym typeface="+mn-lt"/>
              </a:rPr>
              <a:t>, </a:t>
            </a:r>
            <a:r>
              <a:rPr lang="en-US" sz="1000" dirty="0">
                <a:solidFill>
                  <a:srgbClr val="000000"/>
                </a:solidFill>
                <a:latin typeface="Calibri" panose="020F0502020204030204" pitchFamily="34" charset="0"/>
                <a:sym typeface="+mn-lt"/>
                <a:hlinkClick r:id="rId11">
                  <a:extLst>
                    <a:ext uri="{A12FA001-AC4F-418D-AE19-62706E023703}">
                      <ahyp:hlinkClr xmlns:ahyp="http://schemas.microsoft.com/office/drawing/2018/hyperlinkcolor" xmlns="" val="tx"/>
                    </a:ext>
                  </a:extLst>
                </a:hlinkClick>
              </a:rPr>
              <a:t>nursing homes</a:t>
            </a:r>
            <a:r>
              <a:rPr lang="en-US" sz="1000" dirty="0">
                <a:solidFill>
                  <a:srgbClr val="000000"/>
                </a:solidFill>
                <a:latin typeface="Calibri" panose="020F0502020204030204" pitchFamily="34" charset="0"/>
                <a:sym typeface="+mn-lt"/>
              </a:rPr>
              <a:t> and on </a:t>
            </a:r>
            <a:r>
              <a:rPr lang="en-US" sz="1000" dirty="0">
                <a:solidFill>
                  <a:srgbClr val="000000"/>
                </a:solidFill>
                <a:latin typeface="Calibri" panose="020F0502020204030204" pitchFamily="34" charset="0"/>
                <a:sym typeface="+mn-lt"/>
                <a:hlinkClick r:id="rId12">
                  <a:extLst>
                    <a:ext uri="{A12FA001-AC4F-418D-AE19-62706E023703}">
                      <ahyp:hlinkClr xmlns:ahyp="http://schemas.microsoft.com/office/drawing/2018/hyperlinkcolor" xmlns="" val="tx"/>
                    </a:ext>
                  </a:extLst>
                </a:hlinkClick>
              </a:rPr>
              <a:t>how the coronavirus spreads</a:t>
            </a:r>
            <a:endParaRPr lang="en-US" sz="1000" dirty="0">
              <a:solidFill>
                <a:srgbClr val="000000"/>
              </a:solidFill>
              <a:latin typeface="Calibri" panose="020F0502020204030204" pitchFamily="34" charset="0"/>
              <a:sym typeface="+mn-lt"/>
            </a:endParaRPr>
          </a:p>
        </p:txBody>
      </p:sp>
      <p:sp>
        <p:nvSpPr>
          <p:cNvPr id="14" name="TextBox 13">
            <a:extLst>
              <a:ext uri="{FF2B5EF4-FFF2-40B4-BE49-F238E27FC236}">
                <a16:creationId xmlns:a16="http://schemas.microsoft.com/office/drawing/2014/main" id="{368ECB40-FE9A-49B8-953C-5D069ECB9FE4}"/>
              </a:ext>
            </a:extLst>
          </p:cNvPr>
          <p:cNvSpPr txBox="1"/>
          <p:nvPr/>
        </p:nvSpPr>
        <p:spPr>
          <a:xfrm>
            <a:off x="4397826" y="1726898"/>
            <a:ext cx="7432221" cy="4627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SzPct val="100000"/>
              <a:buFont typeface="Trebuchet MS" panose="020B0603020202020204" pitchFamily="34" charset="0"/>
              <a:buChar char="​"/>
            </a:pPr>
            <a:r>
              <a:rPr lang="en-US" sz="1600" dirty="0">
                <a:solidFill>
                  <a:srgbClr val="000000"/>
                </a:solidFill>
                <a:latin typeface="Calibri" panose="020F0502020204030204" pitchFamily="34" charset="0"/>
              </a:rPr>
              <a:t>In addition to health risks associated with </a:t>
            </a:r>
            <a:r>
              <a:rPr lang="en-US" sz="1600" b="1" dirty="0">
                <a:solidFill>
                  <a:srgbClr val="000000"/>
                </a:solidFill>
                <a:latin typeface="Calibri" panose="020F0502020204030204" pitchFamily="34" charset="0"/>
              </a:rPr>
              <a:t>clinical outcomes and death</a:t>
            </a:r>
            <a:r>
              <a:rPr lang="en-US" sz="1600" dirty="0">
                <a:solidFill>
                  <a:srgbClr val="000000"/>
                </a:solidFill>
                <a:latin typeface="Calibri" panose="020F0502020204030204" pitchFamily="34" charset="0"/>
              </a:rPr>
              <a:t>, KDHE considered the following exposure-related risks in our approach</a:t>
            </a:r>
          </a:p>
        </p:txBody>
      </p:sp>
    </p:spTree>
    <p:extLst>
      <p:ext uri="{BB962C8B-B14F-4D97-AF65-F5344CB8AC3E}">
        <p14:creationId xmlns:p14="http://schemas.microsoft.com/office/powerpoint/2010/main" val="265760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9718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391"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01C74C-AE5C-42D9-83A5-8116109103C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721619"/>
            <a:ext cx="11615045" cy="332399"/>
          </a:xfrm>
          <a:prstGeom prst="rect">
            <a:avLst/>
          </a:prstGeom>
        </p:spPr>
        <p:txBody>
          <a:bodyPr>
            <a:spAutoFit/>
          </a:bodyPr>
          <a:lstStyle/>
          <a:p>
            <a:r>
              <a:rPr lang="en-US" dirty="0">
                <a:solidFill>
                  <a:schemeClr val="accent6"/>
                </a:solidFill>
              </a:rPr>
              <a:t>Phase 1 | </a:t>
            </a:r>
            <a:r>
              <a:rPr lang="en-US" dirty="0"/>
              <a:t>Healthcare workers: Identifying characteristics and working definition </a:t>
            </a:r>
          </a:p>
        </p:txBody>
      </p:sp>
      <p:sp>
        <p:nvSpPr>
          <p:cNvPr id="24" name="ee4pHeader1">
            <a:extLst>
              <a:ext uri="{FF2B5EF4-FFF2-40B4-BE49-F238E27FC236}">
                <a16:creationId xmlns:a16="http://schemas.microsoft.com/office/drawing/2014/main" id="{5BD9B3A2-A7C5-43DA-B99F-C233B960B821}"/>
              </a:ext>
            </a:extLst>
          </p:cNvPr>
          <p:cNvSpPr txBox="1"/>
          <p:nvPr/>
        </p:nvSpPr>
        <p:spPr>
          <a:xfrm>
            <a:off x="3468028" y="2456007"/>
            <a:ext cx="8435494" cy="861774"/>
          </a:xfrm>
          <a:prstGeom prst="rect">
            <a:avLst/>
          </a:prstGeom>
          <a:noFill/>
          <a:ln cap="rnd">
            <a:noFill/>
          </a:ln>
        </p:spPr>
        <p:txBody>
          <a:bodyPr vert="horz" wrap="square" lIns="0" tIns="0" rIns="0" bIns="0" rtlCol="0" anchor="t" anchorCtr="0">
            <a:spAutoFit/>
          </a:bodyPr>
          <a:lstStyle/>
          <a:p>
            <a:pPr marL="126000" lvl="1">
              <a:buClr>
                <a:srgbClr val="051934"/>
              </a:buClr>
              <a:buSzPct val="100000"/>
            </a:pPr>
            <a:r>
              <a:rPr lang="en-US" sz="1400" dirty="0">
                <a:solidFill>
                  <a:srgbClr val="000000"/>
                </a:solidFill>
                <a:latin typeface="Calibri" panose="020F0502020204030204" pitchFamily="34" charset="0"/>
              </a:rPr>
              <a:t>Workers with any of the following features:</a:t>
            </a:r>
          </a:p>
          <a:p>
            <a:pPr marL="378000" lvl="1" indent="-252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Required to regularly enter a hospital (inpatient) or outpatient clinical setting;</a:t>
            </a:r>
          </a:p>
          <a:p>
            <a:pPr marL="378000" lvl="1" indent="-252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Involved in pandemic response (e.g., testing centers); </a:t>
            </a:r>
          </a:p>
          <a:p>
            <a:pPr marL="378000" lvl="1" indent="-252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In a healthcare or healthcare-associated setting, in contact with patients or infectious materials;</a:t>
            </a:r>
          </a:p>
        </p:txBody>
      </p:sp>
      <p:sp>
        <p:nvSpPr>
          <p:cNvPr id="37" name="ee4pHeader1">
            <a:extLst>
              <a:ext uri="{FF2B5EF4-FFF2-40B4-BE49-F238E27FC236}">
                <a16:creationId xmlns:a16="http://schemas.microsoft.com/office/drawing/2014/main" id="{99576483-DC11-4253-A79D-8030C41DDDB7}"/>
              </a:ext>
            </a:extLst>
          </p:cNvPr>
          <p:cNvSpPr txBox="1"/>
          <p:nvPr/>
        </p:nvSpPr>
        <p:spPr>
          <a:xfrm>
            <a:off x="3468028" y="1599336"/>
            <a:ext cx="8435494" cy="430887"/>
          </a:xfrm>
          <a:prstGeom prst="rect">
            <a:avLst/>
          </a:prstGeom>
          <a:noFill/>
          <a:ln cap="rnd">
            <a:noFill/>
          </a:ln>
        </p:spPr>
        <p:txBody>
          <a:bodyPr vert="horz" wrap="square" lIns="0" tIns="0" rIns="0" bIns="0" rtlCol="0" anchor="ctr" anchorCtr="0">
            <a:spAutoFit/>
          </a:bodyPr>
          <a:lstStyle/>
          <a:p>
            <a:pP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cs typeface="Calibri" panose="020F0502020204030204" pitchFamily="34" charset="0"/>
              </a:rPr>
              <a:t>Paid and unpaid persons serving in healthcare or healthcare-associated jobs, who are unable to work from home and may be directly or indirectly exposed to patients or infectious materials as a result of their jobs</a:t>
            </a:r>
          </a:p>
        </p:txBody>
      </p:sp>
      <p:sp>
        <p:nvSpPr>
          <p:cNvPr id="43" name="TextBox 42">
            <a:extLst>
              <a:ext uri="{FF2B5EF4-FFF2-40B4-BE49-F238E27FC236}">
                <a16:creationId xmlns:a16="http://schemas.microsoft.com/office/drawing/2014/main" id="{7A252306-3D77-40FD-9AB8-1540045624C6}"/>
              </a:ext>
            </a:extLst>
          </p:cNvPr>
          <p:cNvSpPr txBox="1"/>
          <p:nvPr/>
        </p:nvSpPr>
        <p:spPr>
          <a:xfrm>
            <a:off x="3468028" y="3743566"/>
            <a:ext cx="8435494" cy="21544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Staff in long-term care facility </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Workers in direct contact with patients, e.g., MD/DO/DPM, nurses, </a:t>
            </a:r>
            <a:r>
              <a:rPr lang="en-US" sz="1400" dirty="0" err="1">
                <a:solidFill>
                  <a:srgbClr val="000000">
                    <a:lumMod val="100000"/>
                  </a:srgbClr>
                </a:solidFill>
                <a:latin typeface="Calibri" panose="020F0502020204030204" pitchFamily="34" charset="0"/>
              </a:rPr>
              <a:t>EMTs</a:t>
            </a:r>
            <a:r>
              <a:rPr lang="en-US" sz="1400" dirty="0">
                <a:solidFill>
                  <a:srgbClr val="000000">
                    <a:lumMod val="100000"/>
                  </a:srgbClr>
                </a:solidFill>
                <a:latin typeface="Calibri" panose="020F0502020204030204" pitchFamily="34" charset="0"/>
              </a:rPr>
              <a:t>, clinical students and trainee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Diagnostic labs, phlebotomists, pandemic health workers (e.g., individuals performing </a:t>
            </a:r>
            <a:r>
              <a:rPr lang="en-US" sz="1400" dirty="0" err="1">
                <a:solidFill>
                  <a:srgbClr val="000000">
                    <a:lumMod val="100000"/>
                  </a:srgbClr>
                </a:solidFill>
                <a:latin typeface="Calibri" panose="020F0502020204030204" pitchFamily="34" charset="0"/>
              </a:rPr>
              <a:t>COVID</a:t>
            </a:r>
            <a:r>
              <a:rPr lang="en-US" sz="1400" dirty="0">
                <a:solidFill>
                  <a:srgbClr val="000000">
                    <a:lumMod val="100000"/>
                  </a:srgbClr>
                </a:solidFill>
                <a:latin typeface="Calibri" panose="020F0502020204030204" pitchFamily="34" charset="0"/>
              </a:rPr>
              <a:t> test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Mental healthcare providers, pharmacy staff, non-medical staff – if exposed to patients or infectious material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Healthcare-associated contractors, including food, waste management etc.</a:t>
            </a:r>
          </a:p>
          <a:p>
            <a:pPr marL="432000" lvl="1" indent="-288000">
              <a:buClr>
                <a:srgbClr val="051934">
                  <a:lumMod val="100000"/>
                </a:srgbClr>
              </a:buClr>
              <a:buSzPct val="100000"/>
              <a:buFont typeface="Trebuchet MS" panose="020B0603020202020204" pitchFamily="34" charset="0"/>
              <a:buChar char="•"/>
            </a:pPr>
            <a:r>
              <a:rPr lang="en-US" sz="1400" dirty="0">
                <a:solidFill>
                  <a:schemeClr val="tx1"/>
                </a:solidFill>
                <a:latin typeface="Calibri" panose="020F0502020204030204" pitchFamily="34" charset="0"/>
              </a:rPr>
              <a:t>Dentists, physical therapists, professionals performing elective procedures</a:t>
            </a:r>
          </a:p>
          <a:p>
            <a:pPr marL="432000" lvl="1" indent="-288000">
              <a:buClr>
                <a:srgbClr val="051934">
                  <a:lumMod val="100000"/>
                </a:srgbClr>
              </a:buClr>
              <a:buSzPct val="100000"/>
              <a:buFont typeface="Trebuchet MS" panose="020B0603020202020204" pitchFamily="34" charset="0"/>
              <a:buChar char="•"/>
            </a:pPr>
            <a:r>
              <a:rPr lang="en-US" sz="1400" dirty="0">
                <a:solidFill>
                  <a:schemeClr val="tx1"/>
                </a:solidFill>
                <a:latin typeface="Calibri" panose="020F0502020204030204" pitchFamily="34" charset="0"/>
              </a:rPr>
              <a:t>Home care workers, CMS-designated caretaker</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Morticians, forensic and funeral service workers; </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Staff in </a:t>
            </a:r>
            <a:r>
              <a:rPr lang="en-US" sz="1400" dirty="0" err="1">
                <a:solidFill>
                  <a:srgbClr val="000000"/>
                </a:solidFill>
                <a:latin typeface="Calibri" panose="020F0502020204030204" pitchFamily="34" charset="0"/>
              </a:rPr>
              <a:t>FQHCs</a:t>
            </a:r>
            <a:r>
              <a:rPr lang="en-US" sz="1400" dirty="0">
                <a:solidFill>
                  <a:srgbClr val="000000"/>
                </a:solidFill>
                <a:latin typeface="Calibri" panose="020F0502020204030204" pitchFamily="34" charset="0"/>
              </a:rPr>
              <a:t>, </a:t>
            </a:r>
            <a:r>
              <a:rPr lang="en-US" sz="1400" dirty="0" err="1">
                <a:solidFill>
                  <a:srgbClr val="000000"/>
                </a:solidFill>
                <a:latin typeface="Calibri" panose="020F0502020204030204" pitchFamily="34" charset="0"/>
                <a:ea typeface="Times New Roman" panose="02020603050405020304" pitchFamily="18" charset="0"/>
                <a:cs typeface="Mangal" panose="02040503050203030202" pitchFamily="18" charset="0"/>
              </a:rPr>
              <a:t>CHCs</a:t>
            </a:r>
            <a:r>
              <a:rPr lang="en-US" sz="1400" dirty="0">
                <a:solidFill>
                  <a:srgbClr val="000000"/>
                </a:solidFill>
                <a:latin typeface="Calibri" panose="020F0502020204030204" pitchFamily="34" charset="0"/>
                <a:ea typeface="Times New Roman" panose="02020603050405020304" pitchFamily="18" charset="0"/>
                <a:cs typeface="Mangal" panose="02040503050203030202" pitchFamily="18" charset="0"/>
              </a:rPr>
              <a:t>, safety-net/ free clinics, faith-based outreach clinics (inclusive of state-funded clinics)</a:t>
            </a:r>
            <a:endParaRPr lang="en-US" sz="1400" dirty="0">
              <a:solidFill>
                <a:srgbClr val="000000"/>
              </a:solidFill>
              <a:latin typeface="Calibri" panose="020F0502020204030204" pitchFamily="34" charset="0"/>
            </a:endParaRP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Home health aides, nursing assistants</a:t>
            </a:r>
            <a:endParaRPr lang="en-US" sz="1600" strike="sngStrike" dirty="0">
              <a:solidFill>
                <a:srgbClr val="000000"/>
              </a:solidFill>
              <a:latin typeface="Calibri" panose="020F0502020204030204" pitchFamily="34" charset="0"/>
            </a:endParaRPr>
          </a:p>
        </p:txBody>
      </p:sp>
      <p:sp>
        <p:nvSpPr>
          <p:cNvPr id="57" name="Rectangle: Top Corners Rounded 56">
            <a:extLst>
              <a:ext uri="{FF2B5EF4-FFF2-40B4-BE49-F238E27FC236}">
                <a16:creationId xmlns:a16="http://schemas.microsoft.com/office/drawing/2014/main" id="{164AB3C6-991D-4282-86C7-CB78143BEDE8}"/>
              </a:ext>
            </a:extLst>
          </p:cNvPr>
          <p:cNvSpPr/>
          <p:nvPr/>
        </p:nvSpPr>
        <p:spPr>
          <a:xfrm rot="5400000">
            <a:off x="1311197" y="13425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63" name="ee4pHeader1">
            <a:extLst>
              <a:ext uri="{FF2B5EF4-FFF2-40B4-BE49-F238E27FC236}">
                <a16:creationId xmlns:a16="http://schemas.microsoft.com/office/drawing/2014/main" id="{A65430F5-E9B2-469F-8599-65AD9FAE1EF6}"/>
              </a:ext>
            </a:extLst>
          </p:cNvPr>
          <p:cNvSpPr txBox="1"/>
          <p:nvPr/>
        </p:nvSpPr>
        <p:spPr>
          <a:xfrm>
            <a:off x="288478" y="1445447"/>
            <a:ext cx="2923073" cy="738664"/>
          </a:xfrm>
          <a:prstGeom prst="rect">
            <a:avLst/>
          </a:prstGeom>
          <a:noFill/>
          <a:ln cap="rnd">
            <a:noFill/>
          </a:ln>
        </p:spPr>
        <p:txBody>
          <a:bodyPr vert="horz" wrap="square" lIns="640080" tIns="0" rIns="0" bIns="0" rtlCol="0" anchor="ctr" anchorCtr="0">
            <a:noAutofit/>
          </a:bodyPr>
          <a:lstStyle/>
          <a:p>
            <a:pPr marL="0" lvl="3"/>
            <a:r>
              <a:rPr lang="en-US" dirty="0">
                <a:solidFill>
                  <a:srgbClr val="FFFFFF"/>
                </a:solidFill>
                <a:latin typeface="+mj-lt"/>
                <a:cs typeface="Calibri" panose="020F0502020204030204" pitchFamily="34" charset="0"/>
              </a:rPr>
              <a:t>Definition </a:t>
            </a:r>
          </a:p>
        </p:txBody>
      </p:sp>
      <p:grpSp>
        <p:nvGrpSpPr>
          <p:cNvPr id="5" name="Group 4">
            <a:extLst>
              <a:ext uri="{FF2B5EF4-FFF2-40B4-BE49-F238E27FC236}">
                <a16:creationId xmlns:a16="http://schemas.microsoft.com/office/drawing/2014/main" id="{742B788A-667B-4FB5-8D66-011F5103C351}"/>
              </a:ext>
            </a:extLst>
          </p:cNvPr>
          <p:cNvGrpSpPr/>
          <p:nvPr/>
        </p:nvGrpSpPr>
        <p:grpSpPr>
          <a:xfrm>
            <a:off x="-1" y="2577597"/>
            <a:ext cx="3361060" cy="738663"/>
            <a:chOff x="-1" y="2404883"/>
            <a:chExt cx="3361060" cy="738663"/>
          </a:xfrm>
        </p:grpSpPr>
        <p:sp>
          <p:nvSpPr>
            <p:cNvPr id="58" name="Rectangle: Top Corners Rounded 57">
              <a:extLst>
                <a:ext uri="{FF2B5EF4-FFF2-40B4-BE49-F238E27FC236}">
                  <a16:creationId xmlns:a16="http://schemas.microsoft.com/office/drawing/2014/main" id="{4FAED301-307E-4751-B6F0-9EFAF58B7183}"/>
                </a:ext>
              </a:extLst>
            </p:cNvPr>
            <p:cNvSpPr/>
            <p:nvPr/>
          </p:nvSpPr>
          <p:spPr>
            <a:xfrm rot="5400000">
              <a:off x="1311197" y="1093685"/>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61" name="ee4pHeader1">
              <a:extLst>
                <a:ext uri="{FF2B5EF4-FFF2-40B4-BE49-F238E27FC236}">
                  <a16:creationId xmlns:a16="http://schemas.microsoft.com/office/drawing/2014/main" id="{2FB48CA4-CC95-415A-8E08-7698ACC6DE1A}"/>
                </a:ext>
              </a:extLst>
            </p:cNvPr>
            <p:cNvSpPr txBox="1"/>
            <p:nvPr/>
          </p:nvSpPr>
          <p:spPr>
            <a:xfrm>
              <a:off x="288478" y="2635715"/>
              <a:ext cx="2923073" cy="276999"/>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Description</a:t>
              </a:r>
              <a:endParaRPr lang="en-US" dirty="0">
                <a:solidFill>
                  <a:srgbClr val="FFFFFF"/>
                </a:solidFill>
                <a:latin typeface="+mj-lt"/>
                <a:cs typeface="Calibri" panose="020F0502020204030204" pitchFamily="34" charset="0"/>
              </a:endParaRPr>
            </a:p>
          </p:txBody>
        </p:sp>
        <p:grpSp>
          <p:nvGrpSpPr>
            <p:cNvPr id="70" name="Group 69">
              <a:extLst>
                <a:ext uri="{FF2B5EF4-FFF2-40B4-BE49-F238E27FC236}">
                  <a16:creationId xmlns:a16="http://schemas.microsoft.com/office/drawing/2014/main" id="{8B2599BC-5C8F-4F5E-93E5-7C10629815DD}"/>
                </a:ext>
              </a:extLst>
            </p:cNvPr>
            <p:cNvGrpSpPr>
              <a:grpSpLocks noChangeAspect="1"/>
            </p:cNvGrpSpPr>
            <p:nvPr/>
          </p:nvGrpSpPr>
          <p:grpSpPr>
            <a:xfrm>
              <a:off x="318602" y="2551028"/>
              <a:ext cx="445944" cy="446374"/>
              <a:chOff x="5273675" y="2605088"/>
              <a:chExt cx="1644650" cy="1646237"/>
            </a:xfrm>
          </p:grpSpPr>
          <p:sp>
            <p:nvSpPr>
              <p:cNvPr id="71" name="AutoShape 13">
                <a:extLst>
                  <a:ext uri="{FF2B5EF4-FFF2-40B4-BE49-F238E27FC236}">
                    <a16:creationId xmlns:a16="http://schemas.microsoft.com/office/drawing/2014/main" id="{77529577-E99C-4AA6-B3B9-F0F38F1E22AF}"/>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2" name="Group 71">
                <a:extLst>
                  <a:ext uri="{FF2B5EF4-FFF2-40B4-BE49-F238E27FC236}">
                    <a16:creationId xmlns:a16="http://schemas.microsoft.com/office/drawing/2014/main" id="{B39ECE25-14D0-4213-A6F9-3638EE387362}"/>
                  </a:ext>
                </a:extLst>
              </p:cNvPr>
              <p:cNvGrpSpPr/>
              <p:nvPr/>
            </p:nvGrpSpPr>
            <p:grpSpPr>
              <a:xfrm>
                <a:off x="5374481" y="2739232"/>
                <a:ext cx="1443038" cy="1377949"/>
                <a:chOff x="5373687" y="2738438"/>
                <a:chExt cx="1443038" cy="1377949"/>
              </a:xfrm>
            </p:grpSpPr>
            <p:sp>
              <p:nvSpPr>
                <p:cNvPr id="73" name="Freeform 15">
                  <a:extLst>
                    <a:ext uri="{FF2B5EF4-FFF2-40B4-BE49-F238E27FC236}">
                      <a16:creationId xmlns:a16="http://schemas.microsoft.com/office/drawing/2014/main" id="{ABB98B14-3E59-47B4-BA93-A996C485C621}"/>
                    </a:ext>
                  </a:extLst>
                </p:cNvPr>
                <p:cNvSpPr>
                  <a:spLocks noEditPoints="1"/>
                </p:cNvSpPr>
                <p:nvPr/>
              </p:nvSpPr>
              <p:spPr bwMode="auto">
                <a:xfrm>
                  <a:off x="5737225" y="2797175"/>
                  <a:ext cx="701675" cy="582612"/>
                </a:xfrm>
                <a:custGeom>
                  <a:avLst/>
                  <a:gdLst>
                    <a:gd name="T0" fmla="*/ 958 w 983"/>
                    <a:gd name="T1" fmla="*/ 576 h 816"/>
                    <a:gd name="T2" fmla="*/ 960 w 983"/>
                    <a:gd name="T3" fmla="*/ 487 h 816"/>
                    <a:gd name="T4" fmla="*/ 139 w 983"/>
                    <a:gd name="T5" fmla="*/ 142 h 816"/>
                    <a:gd name="T6" fmla="*/ 31 w 983"/>
                    <a:gd name="T7" fmla="*/ 692 h 816"/>
                    <a:gd name="T8" fmla="*/ 48 w 983"/>
                    <a:gd name="T9" fmla="*/ 700 h 816"/>
                    <a:gd name="T10" fmla="*/ 62 w 983"/>
                    <a:gd name="T11" fmla="*/ 695 h 816"/>
                    <a:gd name="T12" fmla="*/ 65 w 983"/>
                    <a:gd name="T13" fmla="*/ 664 h 816"/>
                    <a:gd name="T14" fmla="*/ 87 w 983"/>
                    <a:gd name="T15" fmla="*/ 291 h 816"/>
                    <a:gd name="T16" fmla="*/ 212 w 983"/>
                    <a:gd name="T17" fmla="*/ 414 h 816"/>
                    <a:gd name="T18" fmla="*/ 155 w 983"/>
                    <a:gd name="T19" fmla="*/ 455 h 816"/>
                    <a:gd name="T20" fmla="*/ 242 w 983"/>
                    <a:gd name="T21" fmla="*/ 455 h 816"/>
                    <a:gd name="T22" fmla="*/ 330 w 983"/>
                    <a:gd name="T23" fmla="*/ 364 h 816"/>
                    <a:gd name="T24" fmla="*/ 353 w 983"/>
                    <a:gd name="T25" fmla="*/ 365 h 816"/>
                    <a:gd name="T26" fmla="*/ 408 w 983"/>
                    <a:gd name="T27" fmla="*/ 467 h 816"/>
                    <a:gd name="T28" fmla="*/ 376 w 983"/>
                    <a:gd name="T29" fmla="*/ 659 h 816"/>
                    <a:gd name="T30" fmla="*/ 349 w 983"/>
                    <a:gd name="T31" fmla="*/ 679 h 816"/>
                    <a:gd name="T32" fmla="*/ 170 w 983"/>
                    <a:gd name="T33" fmla="*/ 675 h 816"/>
                    <a:gd name="T34" fmla="*/ 122 w 983"/>
                    <a:gd name="T35" fmla="*/ 676 h 816"/>
                    <a:gd name="T36" fmla="*/ 104 w 983"/>
                    <a:gd name="T37" fmla="*/ 712 h 816"/>
                    <a:gd name="T38" fmla="*/ 147 w 983"/>
                    <a:gd name="T39" fmla="*/ 755 h 816"/>
                    <a:gd name="T40" fmla="*/ 348 w 983"/>
                    <a:gd name="T41" fmla="*/ 723 h 816"/>
                    <a:gd name="T42" fmla="*/ 417 w 983"/>
                    <a:gd name="T43" fmla="*/ 816 h 816"/>
                    <a:gd name="T44" fmla="*/ 420 w 983"/>
                    <a:gd name="T45" fmla="*/ 729 h 816"/>
                    <a:gd name="T46" fmla="*/ 474 w 983"/>
                    <a:gd name="T47" fmla="*/ 740 h 816"/>
                    <a:gd name="T48" fmla="*/ 558 w 983"/>
                    <a:gd name="T49" fmla="*/ 739 h 816"/>
                    <a:gd name="T50" fmla="*/ 617 w 983"/>
                    <a:gd name="T51" fmla="*/ 735 h 816"/>
                    <a:gd name="T52" fmla="*/ 626 w 983"/>
                    <a:gd name="T53" fmla="*/ 816 h 816"/>
                    <a:gd name="T54" fmla="*/ 682 w 983"/>
                    <a:gd name="T55" fmla="*/ 725 h 816"/>
                    <a:gd name="T56" fmla="*/ 852 w 983"/>
                    <a:gd name="T57" fmla="*/ 765 h 816"/>
                    <a:gd name="T58" fmla="*/ 896 w 983"/>
                    <a:gd name="T59" fmla="*/ 721 h 816"/>
                    <a:gd name="T60" fmla="*/ 852 w 983"/>
                    <a:gd name="T61" fmla="*/ 678 h 816"/>
                    <a:gd name="T62" fmla="*/ 683 w 983"/>
                    <a:gd name="T63" fmla="*/ 680 h 816"/>
                    <a:gd name="T64" fmla="*/ 654 w 983"/>
                    <a:gd name="T65" fmla="*/ 659 h 816"/>
                    <a:gd name="T66" fmla="*/ 613 w 983"/>
                    <a:gd name="T67" fmla="*/ 467 h 816"/>
                    <a:gd name="T68" fmla="*/ 674 w 983"/>
                    <a:gd name="T69" fmla="*/ 366 h 816"/>
                    <a:gd name="T70" fmla="*/ 695 w 983"/>
                    <a:gd name="T71" fmla="*/ 361 h 816"/>
                    <a:gd name="T72" fmla="*/ 765 w 983"/>
                    <a:gd name="T73" fmla="*/ 437 h 816"/>
                    <a:gd name="T74" fmla="*/ 852 w 983"/>
                    <a:gd name="T75" fmla="*/ 437 h 816"/>
                    <a:gd name="T76" fmla="*/ 796 w 983"/>
                    <a:gd name="T77" fmla="*/ 395 h 816"/>
                    <a:gd name="T78" fmla="*/ 870 w 983"/>
                    <a:gd name="T79" fmla="*/ 286 h 816"/>
                    <a:gd name="T80" fmla="*/ 916 w 983"/>
                    <a:gd name="T81" fmla="*/ 505 h 816"/>
                    <a:gd name="T82" fmla="*/ 914 w 983"/>
                    <a:gd name="T83" fmla="*/ 572 h 816"/>
                    <a:gd name="T84" fmla="*/ 939 w 983"/>
                    <a:gd name="T85" fmla="*/ 668 h 816"/>
                    <a:gd name="T86" fmla="*/ 977 w 983"/>
                    <a:gd name="T87" fmla="*/ 647 h 816"/>
                    <a:gd name="T88" fmla="*/ 612 w 983"/>
                    <a:gd name="T89" fmla="*/ 673 h 816"/>
                    <a:gd name="T90" fmla="*/ 547 w 983"/>
                    <a:gd name="T91" fmla="*/ 696 h 816"/>
                    <a:gd name="T92" fmla="*/ 484 w 983"/>
                    <a:gd name="T93" fmla="*/ 697 h 816"/>
                    <a:gd name="T94" fmla="*/ 418 w 983"/>
                    <a:gd name="T95" fmla="*/ 673 h 816"/>
                    <a:gd name="T96" fmla="*/ 468 w 983"/>
                    <a:gd name="T97" fmla="*/ 507 h 816"/>
                    <a:gd name="T98" fmla="*/ 532 w 983"/>
                    <a:gd name="T99" fmla="*/ 489 h 816"/>
                    <a:gd name="T100" fmla="*/ 609 w 983"/>
                    <a:gd name="T101" fmla="*/ 665 h 816"/>
                    <a:gd name="T102" fmla="*/ 569 w 983"/>
                    <a:gd name="T103" fmla="*/ 423 h 816"/>
                    <a:gd name="T104" fmla="*/ 489 w 983"/>
                    <a:gd name="T105" fmla="*/ 445 h 816"/>
                    <a:gd name="T106" fmla="*/ 390 w 983"/>
                    <a:gd name="T107" fmla="*/ 341 h 816"/>
                    <a:gd name="T108" fmla="*/ 636 w 983"/>
                    <a:gd name="T109" fmla="*/ 343 h 816"/>
                    <a:gd name="T110" fmla="*/ 703 w 983"/>
                    <a:gd name="T111" fmla="*/ 290 h 816"/>
                    <a:gd name="T112" fmla="*/ 639 w 983"/>
                    <a:gd name="T113" fmla="*/ 297 h 816"/>
                    <a:gd name="T114" fmla="*/ 344 w 983"/>
                    <a:gd name="T115" fmla="*/ 279 h 816"/>
                    <a:gd name="T116" fmla="*/ 109 w 983"/>
                    <a:gd name="T117" fmla="*/ 251 h 816"/>
                    <a:gd name="T118" fmla="*/ 848 w 983"/>
                    <a:gd name="T119" fmla="*/ 24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3" h="816">
                      <a:moveTo>
                        <a:pt x="977" y="647"/>
                      </a:moveTo>
                      <a:cubicBezTo>
                        <a:pt x="958" y="612"/>
                        <a:pt x="957" y="586"/>
                        <a:pt x="958" y="576"/>
                      </a:cubicBezTo>
                      <a:cubicBezTo>
                        <a:pt x="960" y="552"/>
                        <a:pt x="960" y="528"/>
                        <a:pt x="960" y="505"/>
                      </a:cubicBezTo>
                      <a:cubicBezTo>
                        <a:pt x="960" y="499"/>
                        <a:pt x="960" y="493"/>
                        <a:pt x="960" y="487"/>
                      </a:cubicBezTo>
                      <a:cubicBezTo>
                        <a:pt x="960" y="214"/>
                        <a:pt x="749" y="0"/>
                        <a:pt x="481" y="0"/>
                      </a:cubicBezTo>
                      <a:cubicBezTo>
                        <a:pt x="350" y="0"/>
                        <a:pt x="229" y="50"/>
                        <a:pt x="139" y="142"/>
                      </a:cubicBezTo>
                      <a:cubicBezTo>
                        <a:pt x="49" y="234"/>
                        <a:pt x="0" y="356"/>
                        <a:pt x="0" y="487"/>
                      </a:cubicBezTo>
                      <a:cubicBezTo>
                        <a:pt x="0" y="489"/>
                        <a:pt x="2" y="657"/>
                        <a:pt x="31" y="692"/>
                      </a:cubicBezTo>
                      <a:cubicBezTo>
                        <a:pt x="33" y="694"/>
                        <a:pt x="35" y="696"/>
                        <a:pt x="37" y="697"/>
                      </a:cubicBezTo>
                      <a:cubicBezTo>
                        <a:pt x="41" y="699"/>
                        <a:pt x="45" y="700"/>
                        <a:pt x="48" y="700"/>
                      </a:cubicBezTo>
                      <a:cubicBezTo>
                        <a:pt x="49" y="700"/>
                        <a:pt x="49" y="700"/>
                        <a:pt x="50" y="700"/>
                      </a:cubicBezTo>
                      <a:cubicBezTo>
                        <a:pt x="54" y="699"/>
                        <a:pt x="59" y="698"/>
                        <a:pt x="62" y="695"/>
                      </a:cubicBezTo>
                      <a:cubicBezTo>
                        <a:pt x="68" y="690"/>
                        <a:pt x="70" y="684"/>
                        <a:pt x="70" y="677"/>
                      </a:cubicBezTo>
                      <a:cubicBezTo>
                        <a:pt x="70" y="672"/>
                        <a:pt x="68" y="668"/>
                        <a:pt x="65" y="664"/>
                      </a:cubicBezTo>
                      <a:cubicBezTo>
                        <a:pt x="55" y="650"/>
                        <a:pt x="44" y="555"/>
                        <a:pt x="44" y="487"/>
                      </a:cubicBezTo>
                      <a:cubicBezTo>
                        <a:pt x="44" y="416"/>
                        <a:pt x="60" y="350"/>
                        <a:pt x="87" y="291"/>
                      </a:cubicBezTo>
                      <a:cubicBezTo>
                        <a:pt x="299" y="333"/>
                        <a:pt x="299" y="333"/>
                        <a:pt x="299" y="333"/>
                      </a:cubicBezTo>
                      <a:cubicBezTo>
                        <a:pt x="212" y="414"/>
                        <a:pt x="212" y="414"/>
                        <a:pt x="212" y="414"/>
                      </a:cubicBezTo>
                      <a:cubicBezTo>
                        <a:pt x="207" y="413"/>
                        <a:pt x="203" y="412"/>
                        <a:pt x="198" y="412"/>
                      </a:cubicBezTo>
                      <a:cubicBezTo>
                        <a:pt x="174" y="412"/>
                        <a:pt x="155" y="431"/>
                        <a:pt x="155" y="455"/>
                      </a:cubicBezTo>
                      <a:cubicBezTo>
                        <a:pt x="155" y="479"/>
                        <a:pt x="174" y="499"/>
                        <a:pt x="198" y="499"/>
                      </a:cubicBezTo>
                      <a:cubicBezTo>
                        <a:pt x="222" y="499"/>
                        <a:pt x="242" y="479"/>
                        <a:pt x="242" y="455"/>
                      </a:cubicBezTo>
                      <a:cubicBezTo>
                        <a:pt x="242" y="452"/>
                        <a:pt x="242" y="449"/>
                        <a:pt x="241" y="447"/>
                      </a:cubicBezTo>
                      <a:cubicBezTo>
                        <a:pt x="330" y="364"/>
                        <a:pt x="330" y="364"/>
                        <a:pt x="330" y="364"/>
                      </a:cubicBezTo>
                      <a:cubicBezTo>
                        <a:pt x="335" y="365"/>
                        <a:pt x="339" y="366"/>
                        <a:pt x="344" y="366"/>
                      </a:cubicBezTo>
                      <a:cubicBezTo>
                        <a:pt x="347" y="366"/>
                        <a:pt x="350" y="366"/>
                        <a:pt x="353" y="365"/>
                      </a:cubicBezTo>
                      <a:cubicBezTo>
                        <a:pt x="413" y="445"/>
                        <a:pt x="413" y="445"/>
                        <a:pt x="413" y="445"/>
                      </a:cubicBezTo>
                      <a:cubicBezTo>
                        <a:pt x="410" y="451"/>
                        <a:pt x="408" y="459"/>
                        <a:pt x="408" y="467"/>
                      </a:cubicBezTo>
                      <a:cubicBezTo>
                        <a:pt x="408" y="481"/>
                        <a:pt x="414" y="493"/>
                        <a:pt x="424" y="501"/>
                      </a:cubicBezTo>
                      <a:cubicBezTo>
                        <a:pt x="376" y="659"/>
                        <a:pt x="376" y="659"/>
                        <a:pt x="376" y="659"/>
                      </a:cubicBezTo>
                      <a:cubicBezTo>
                        <a:pt x="368" y="661"/>
                        <a:pt x="361" y="665"/>
                        <a:pt x="355" y="671"/>
                      </a:cubicBezTo>
                      <a:cubicBezTo>
                        <a:pt x="353" y="673"/>
                        <a:pt x="350" y="676"/>
                        <a:pt x="349" y="679"/>
                      </a:cubicBezTo>
                      <a:cubicBezTo>
                        <a:pt x="184" y="689"/>
                        <a:pt x="184" y="689"/>
                        <a:pt x="184" y="689"/>
                      </a:cubicBezTo>
                      <a:cubicBezTo>
                        <a:pt x="181" y="683"/>
                        <a:pt x="176" y="679"/>
                        <a:pt x="170" y="675"/>
                      </a:cubicBezTo>
                      <a:cubicBezTo>
                        <a:pt x="164" y="671"/>
                        <a:pt x="156" y="668"/>
                        <a:pt x="147" y="668"/>
                      </a:cubicBezTo>
                      <a:cubicBezTo>
                        <a:pt x="138" y="668"/>
                        <a:pt x="129" y="671"/>
                        <a:pt x="122" y="676"/>
                      </a:cubicBezTo>
                      <a:cubicBezTo>
                        <a:pt x="113" y="683"/>
                        <a:pt x="106" y="694"/>
                        <a:pt x="104" y="706"/>
                      </a:cubicBezTo>
                      <a:cubicBezTo>
                        <a:pt x="104" y="708"/>
                        <a:pt x="104" y="710"/>
                        <a:pt x="104" y="712"/>
                      </a:cubicBezTo>
                      <a:cubicBezTo>
                        <a:pt x="104" y="726"/>
                        <a:pt x="110" y="738"/>
                        <a:pt x="121" y="746"/>
                      </a:cubicBezTo>
                      <a:cubicBezTo>
                        <a:pt x="128" y="752"/>
                        <a:pt x="137" y="755"/>
                        <a:pt x="147" y="755"/>
                      </a:cubicBezTo>
                      <a:cubicBezTo>
                        <a:pt x="164" y="755"/>
                        <a:pt x="178" y="746"/>
                        <a:pt x="185" y="733"/>
                      </a:cubicBezTo>
                      <a:cubicBezTo>
                        <a:pt x="348" y="723"/>
                        <a:pt x="348" y="723"/>
                        <a:pt x="348" y="723"/>
                      </a:cubicBezTo>
                      <a:cubicBezTo>
                        <a:pt x="354" y="734"/>
                        <a:pt x="365" y="743"/>
                        <a:pt x="378" y="745"/>
                      </a:cubicBezTo>
                      <a:cubicBezTo>
                        <a:pt x="417" y="816"/>
                        <a:pt x="417" y="816"/>
                        <a:pt x="417" y="816"/>
                      </a:cubicBezTo>
                      <a:cubicBezTo>
                        <a:pt x="468" y="816"/>
                        <a:pt x="468" y="816"/>
                        <a:pt x="468" y="816"/>
                      </a:cubicBezTo>
                      <a:cubicBezTo>
                        <a:pt x="420" y="729"/>
                        <a:pt x="420" y="729"/>
                        <a:pt x="420" y="729"/>
                      </a:cubicBezTo>
                      <a:cubicBezTo>
                        <a:pt x="420" y="729"/>
                        <a:pt x="420" y="728"/>
                        <a:pt x="420" y="728"/>
                      </a:cubicBezTo>
                      <a:cubicBezTo>
                        <a:pt x="474" y="740"/>
                        <a:pt x="474" y="740"/>
                        <a:pt x="474" y="740"/>
                      </a:cubicBezTo>
                      <a:cubicBezTo>
                        <a:pt x="480" y="758"/>
                        <a:pt x="496" y="771"/>
                        <a:pt x="516" y="771"/>
                      </a:cubicBezTo>
                      <a:cubicBezTo>
                        <a:pt x="536" y="771"/>
                        <a:pt x="553" y="757"/>
                        <a:pt x="558" y="739"/>
                      </a:cubicBezTo>
                      <a:cubicBezTo>
                        <a:pt x="610" y="728"/>
                        <a:pt x="610" y="728"/>
                        <a:pt x="610" y="728"/>
                      </a:cubicBezTo>
                      <a:cubicBezTo>
                        <a:pt x="612" y="731"/>
                        <a:pt x="614" y="733"/>
                        <a:pt x="617" y="735"/>
                      </a:cubicBezTo>
                      <a:cubicBezTo>
                        <a:pt x="577" y="816"/>
                        <a:pt x="577" y="816"/>
                        <a:pt x="577" y="816"/>
                      </a:cubicBezTo>
                      <a:cubicBezTo>
                        <a:pt x="626" y="816"/>
                        <a:pt x="626" y="816"/>
                        <a:pt x="626" y="816"/>
                      </a:cubicBezTo>
                      <a:cubicBezTo>
                        <a:pt x="663" y="741"/>
                        <a:pt x="663" y="741"/>
                        <a:pt x="663" y="741"/>
                      </a:cubicBezTo>
                      <a:cubicBezTo>
                        <a:pt x="671" y="738"/>
                        <a:pt x="677" y="732"/>
                        <a:pt x="682" y="725"/>
                      </a:cubicBezTo>
                      <a:cubicBezTo>
                        <a:pt x="812" y="738"/>
                        <a:pt x="812" y="738"/>
                        <a:pt x="812" y="738"/>
                      </a:cubicBezTo>
                      <a:cubicBezTo>
                        <a:pt x="818" y="754"/>
                        <a:pt x="834" y="765"/>
                        <a:pt x="852" y="765"/>
                      </a:cubicBezTo>
                      <a:cubicBezTo>
                        <a:pt x="858" y="765"/>
                        <a:pt x="863" y="764"/>
                        <a:pt x="868" y="762"/>
                      </a:cubicBezTo>
                      <a:cubicBezTo>
                        <a:pt x="884" y="755"/>
                        <a:pt x="896" y="740"/>
                        <a:pt x="896" y="721"/>
                      </a:cubicBezTo>
                      <a:cubicBezTo>
                        <a:pt x="896" y="717"/>
                        <a:pt x="895" y="713"/>
                        <a:pt x="894" y="709"/>
                      </a:cubicBezTo>
                      <a:cubicBezTo>
                        <a:pt x="889" y="691"/>
                        <a:pt x="872" y="678"/>
                        <a:pt x="852" y="678"/>
                      </a:cubicBezTo>
                      <a:cubicBezTo>
                        <a:pt x="838" y="678"/>
                        <a:pt x="826" y="684"/>
                        <a:pt x="818" y="694"/>
                      </a:cubicBezTo>
                      <a:cubicBezTo>
                        <a:pt x="683" y="680"/>
                        <a:pt x="683" y="680"/>
                        <a:pt x="683" y="680"/>
                      </a:cubicBezTo>
                      <a:cubicBezTo>
                        <a:pt x="679" y="674"/>
                        <a:pt x="673" y="668"/>
                        <a:pt x="666" y="664"/>
                      </a:cubicBezTo>
                      <a:cubicBezTo>
                        <a:pt x="662" y="662"/>
                        <a:pt x="658" y="660"/>
                        <a:pt x="654" y="659"/>
                      </a:cubicBezTo>
                      <a:cubicBezTo>
                        <a:pt x="598" y="499"/>
                        <a:pt x="598" y="499"/>
                        <a:pt x="598" y="499"/>
                      </a:cubicBezTo>
                      <a:cubicBezTo>
                        <a:pt x="607" y="491"/>
                        <a:pt x="613" y="480"/>
                        <a:pt x="613" y="467"/>
                      </a:cubicBezTo>
                      <a:cubicBezTo>
                        <a:pt x="613" y="459"/>
                        <a:pt x="611" y="453"/>
                        <a:pt x="608" y="447"/>
                      </a:cubicBezTo>
                      <a:cubicBezTo>
                        <a:pt x="674" y="366"/>
                        <a:pt x="674" y="366"/>
                        <a:pt x="674" y="366"/>
                      </a:cubicBezTo>
                      <a:cubicBezTo>
                        <a:pt x="674" y="366"/>
                        <a:pt x="674" y="366"/>
                        <a:pt x="674" y="366"/>
                      </a:cubicBezTo>
                      <a:cubicBezTo>
                        <a:pt x="682" y="366"/>
                        <a:pt x="689" y="364"/>
                        <a:pt x="695" y="361"/>
                      </a:cubicBezTo>
                      <a:cubicBezTo>
                        <a:pt x="766" y="427"/>
                        <a:pt x="766" y="427"/>
                        <a:pt x="766" y="427"/>
                      </a:cubicBezTo>
                      <a:cubicBezTo>
                        <a:pt x="765" y="430"/>
                        <a:pt x="765" y="433"/>
                        <a:pt x="765" y="437"/>
                      </a:cubicBezTo>
                      <a:cubicBezTo>
                        <a:pt x="765" y="461"/>
                        <a:pt x="785" y="480"/>
                        <a:pt x="809" y="480"/>
                      </a:cubicBezTo>
                      <a:cubicBezTo>
                        <a:pt x="833" y="480"/>
                        <a:pt x="852" y="461"/>
                        <a:pt x="852" y="437"/>
                      </a:cubicBezTo>
                      <a:cubicBezTo>
                        <a:pt x="852" y="413"/>
                        <a:pt x="833" y="393"/>
                        <a:pt x="809" y="393"/>
                      </a:cubicBezTo>
                      <a:cubicBezTo>
                        <a:pt x="804" y="393"/>
                        <a:pt x="800" y="394"/>
                        <a:pt x="796" y="395"/>
                      </a:cubicBezTo>
                      <a:cubicBezTo>
                        <a:pt x="726" y="329"/>
                        <a:pt x="726" y="329"/>
                        <a:pt x="726" y="329"/>
                      </a:cubicBezTo>
                      <a:cubicBezTo>
                        <a:pt x="870" y="286"/>
                        <a:pt x="870" y="286"/>
                        <a:pt x="870" y="286"/>
                      </a:cubicBezTo>
                      <a:cubicBezTo>
                        <a:pt x="899" y="346"/>
                        <a:pt x="916" y="414"/>
                        <a:pt x="916" y="487"/>
                      </a:cubicBezTo>
                      <a:cubicBezTo>
                        <a:pt x="916" y="493"/>
                        <a:pt x="916" y="499"/>
                        <a:pt x="916" y="505"/>
                      </a:cubicBezTo>
                      <a:cubicBezTo>
                        <a:pt x="916" y="528"/>
                        <a:pt x="916" y="550"/>
                        <a:pt x="914" y="572"/>
                      </a:cubicBezTo>
                      <a:cubicBezTo>
                        <a:pt x="914" y="572"/>
                        <a:pt x="914" y="572"/>
                        <a:pt x="914" y="572"/>
                      </a:cubicBezTo>
                      <a:cubicBezTo>
                        <a:pt x="912" y="598"/>
                        <a:pt x="919" y="629"/>
                        <a:pt x="933" y="658"/>
                      </a:cubicBezTo>
                      <a:cubicBezTo>
                        <a:pt x="935" y="661"/>
                        <a:pt x="937" y="665"/>
                        <a:pt x="939" y="668"/>
                      </a:cubicBezTo>
                      <a:cubicBezTo>
                        <a:pt x="945" y="679"/>
                        <a:pt x="958" y="683"/>
                        <a:pt x="969" y="677"/>
                      </a:cubicBezTo>
                      <a:cubicBezTo>
                        <a:pt x="979" y="671"/>
                        <a:pt x="983" y="657"/>
                        <a:pt x="977" y="647"/>
                      </a:cubicBezTo>
                      <a:close/>
                      <a:moveTo>
                        <a:pt x="609" y="665"/>
                      </a:moveTo>
                      <a:cubicBezTo>
                        <a:pt x="612" y="673"/>
                        <a:pt x="612" y="673"/>
                        <a:pt x="612" y="673"/>
                      </a:cubicBezTo>
                      <a:cubicBezTo>
                        <a:pt x="609" y="677"/>
                        <a:pt x="607" y="680"/>
                        <a:pt x="605" y="684"/>
                      </a:cubicBezTo>
                      <a:cubicBezTo>
                        <a:pt x="547" y="696"/>
                        <a:pt x="547" y="696"/>
                        <a:pt x="547" y="696"/>
                      </a:cubicBezTo>
                      <a:cubicBezTo>
                        <a:pt x="539" y="688"/>
                        <a:pt x="528" y="684"/>
                        <a:pt x="516" y="684"/>
                      </a:cubicBezTo>
                      <a:cubicBezTo>
                        <a:pt x="503" y="684"/>
                        <a:pt x="492" y="689"/>
                        <a:pt x="484" y="697"/>
                      </a:cubicBezTo>
                      <a:cubicBezTo>
                        <a:pt x="425" y="684"/>
                        <a:pt x="425" y="684"/>
                        <a:pt x="425" y="684"/>
                      </a:cubicBezTo>
                      <a:cubicBezTo>
                        <a:pt x="424" y="680"/>
                        <a:pt x="421" y="676"/>
                        <a:pt x="418" y="673"/>
                      </a:cubicBezTo>
                      <a:cubicBezTo>
                        <a:pt x="419" y="669"/>
                        <a:pt x="419" y="669"/>
                        <a:pt x="419" y="669"/>
                      </a:cubicBezTo>
                      <a:cubicBezTo>
                        <a:pt x="468" y="507"/>
                        <a:pt x="468" y="507"/>
                        <a:pt x="468" y="507"/>
                      </a:cubicBezTo>
                      <a:cubicBezTo>
                        <a:pt x="477" y="503"/>
                        <a:pt x="484" y="497"/>
                        <a:pt x="489" y="489"/>
                      </a:cubicBezTo>
                      <a:cubicBezTo>
                        <a:pt x="532" y="489"/>
                        <a:pt x="532" y="489"/>
                        <a:pt x="532" y="489"/>
                      </a:cubicBezTo>
                      <a:cubicBezTo>
                        <a:pt x="537" y="497"/>
                        <a:pt x="545" y="504"/>
                        <a:pt x="554" y="507"/>
                      </a:cubicBezTo>
                      <a:lnTo>
                        <a:pt x="609" y="665"/>
                      </a:lnTo>
                      <a:close/>
                      <a:moveTo>
                        <a:pt x="570" y="423"/>
                      </a:moveTo>
                      <a:cubicBezTo>
                        <a:pt x="570" y="423"/>
                        <a:pt x="570" y="423"/>
                        <a:pt x="569" y="423"/>
                      </a:cubicBezTo>
                      <a:cubicBezTo>
                        <a:pt x="553" y="423"/>
                        <a:pt x="539" y="432"/>
                        <a:pt x="532" y="445"/>
                      </a:cubicBezTo>
                      <a:cubicBezTo>
                        <a:pt x="489" y="445"/>
                        <a:pt x="489" y="445"/>
                        <a:pt x="489" y="445"/>
                      </a:cubicBezTo>
                      <a:cubicBezTo>
                        <a:pt x="481" y="432"/>
                        <a:pt x="468" y="424"/>
                        <a:pt x="452" y="423"/>
                      </a:cubicBezTo>
                      <a:cubicBezTo>
                        <a:pt x="390" y="341"/>
                        <a:pt x="390" y="341"/>
                        <a:pt x="390" y="341"/>
                      </a:cubicBezTo>
                      <a:cubicBezTo>
                        <a:pt x="635" y="341"/>
                        <a:pt x="635" y="341"/>
                        <a:pt x="635" y="341"/>
                      </a:cubicBezTo>
                      <a:cubicBezTo>
                        <a:pt x="635" y="342"/>
                        <a:pt x="636" y="342"/>
                        <a:pt x="636" y="343"/>
                      </a:cubicBezTo>
                      <a:lnTo>
                        <a:pt x="570" y="423"/>
                      </a:lnTo>
                      <a:close/>
                      <a:moveTo>
                        <a:pt x="703" y="290"/>
                      </a:moveTo>
                      <a:cubicBezTo>
                        <a:pt x="696" y="283"/>
                        <a:pt x="686" y="279"/>
                        <a:pt x="674" y="279"/>
                      </a:cubicBezTo>
                      <a:cubicBezTo>
                        <a:pt x="660" y="279"/>
                        <a:pt x="647" y="286"/>
                        <a:pt x="639" y="297"/>
                      </a:cubicBezTo>
                      <a:cubicBezTo>
                        <a:pt x="380" y="297"/>
                        <a:pt x="380" y="297"/>
                        <a:pt x="380" y="297"/>
                      </a:cubicBezTo>
                      <a:cubicBezTo>
                        <a:pt x="372" y="286"/>
                        <a:pt x="359" y="279"/>
                        <a:pt x="344" y="279"/>
                      </a:cubicBezTo>
                      <a:cubicBezTo>
                        <a:pt x="333" y="279"/>
                        <a:pt x="322" y="284"/>
                        <a:pt x="315" y="291"/>
                      </a:cubicBezTo>
                      <a:cubicBezTo>
                        <a:pt x="109" y="251"/>
                        <a:pt x="109" y="251"/>
                        <a:pt x="109" y="251"/>
                      </a:cubicBezTo>
                      <a:cubicBezTo>
                        <a:pt x="186" y="125"/>
                        <a:pt x="322" y="44"/>
                        <a:pt x="481" y="44"/>
                      </a:cubicBezTo>
                      <a:cubicBezTo>
                        <a:pt x="637" y="44"/>
                        <a:pt x="772" y="124"/>
                        <a:pt x="848" y="246"/>
                      </a:cubicBezTo>
                      <a:lnTo>
                        <a:pt x="703"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
                  <a:extLst>
                    <a:ext uri="{FF2B5EF4-FFF2-40B4-BE49-F238E27FC236}">
                      <a16:creationId xmlns:a16="http://schemas.microsoft.com/office/drawing/2014/main" id="{1A7D20AA-D075-4B5E-9610-A814185B12BB}"/>
                    </a:ext>
                  </a:extLst>
                </p:cNvPr>
                <p:cNvSpPr>
                  <a:spLocks/>
                </p:cNvSpPr>
                <p:nvPr/>
              </p:nvSpPr>
              <p:spPr bwMode="auto">
                <a:xfrm>
                  <a:off x="5373687" y="2738438"/>
                  <a:ext cx="1443038" cy="1377949"/>
                </a:xfrm>
                <a:custGeom>
                  <a:avLst/>
                  <a:gdLst>
                    <a:gd name="connsiteX0" fmla="*/ 1427273 w 1443038"/>
                    <a:gd name="connsiteY0" fmla="*/ 1274762 h 1377949"/>
                    <a:gd name="connsiteX1" fmla="*/ 1443038 w 1443038"/>
                    <a:gd name="connsiteY1" fmla="*/ 1290527 h 1377949"/>
                    <a:gd name="connsiteX2" fmla="*/ 1443038 w 1443038"/>
                    <a:gd name="connsiteY2" fmla="*/ 1362184 h 1377949"/>
                    <a:gd name="connsiteX3" fmla="*/ 1427273 w 1443038"/>
                    <a:gd name="connsiteY3" fmla="*/ 1377949 h 1377949"/>
                    <a:gd name="connsiteX4" fmla="*/ 1355615 w 1443038"/>
                    <a:gd name="connsiteY4" fmla="*/ 1377949 h 1377949"/>
                    <a:gd name="connsiteX5" fmla="*/ 1339850 w 1443038"/>
                    <a:gd name="connsiteY5" fmla="*/ 1362184 h 1377949"/>
                    <a:gd name="connsiteX6" fmla="*/ 1355615 w 1443038"/>
                    <a:gd name="connsiteY6" fmla="*/ 1346420 h 1377949"/>
                    <a:gd name="connsiteX7" fmla="*/ 1411509 w 1443038"/>
                    <a:gd name="connsiteY7" fmla="*/ 1346420 h 1377949"/>
                    <a:gd name="connsiteX8" fmla="*/ 1411509 w 1443038"/>
                    <a:gd name="connsiteY8" fmla="*/ 1290527 h 1377949"/>
                    <a:gd name="connsiteX9" fmla="*/ 1427273 w 1443038"/>
                    <a:gd name="connsiteY9" fmla="*/ 1274762 h 1377949"/>
                    <a:gd name="connsiteX10" fmla="*/ 15765 w 1443038"/>
                    <a:gd name="connsiteY10" fmla="*/ 1274762 h 1377949"/>
                    <a:gd name="connsiteX11" fmla="*/ 31529 w 1443038"/>
                    <a:gd name="connsiteY11" fmla="*/ 1290527 h 1377949"/>
                    <a:gd name="connsiteX12" fmla="*/ 31529 w 1443038"/>
                    <a:gd name="connsiteY12" fmla="*/ 1346420 h 1377949"/>
                    <a:gd name="connsiteX13" fmla="*/ 87423 w 1443038"/>
                    <a:gd name="connsiteY13" fmla="*/ 1346420 h 1377949"/>
                    <a:gd name="connsiteX14" fmla="*/ 103188 w 1443038"/>
                    <a:gd name="connsiteY14" fmla="*/ 1362184 h 1377949"/>
                    <a:gd name="connsiteX15" fmla="*/ 87423 w 1443038"/>
                    <a:gd name="connsiteY15" fmla="*/ 1377949 h 1377949"/>
                    <a:gd name="connsiteX16" fmla="*/ 15765 w 1443038"/>
                    <a:gd name="connsiteY16" fmla="*/ 1377949 h 1377949"/>
                    <a:gd name="connsiteX17" fmla="*/ 0 w 1443038"/>
                    <a:gd name="connsiteY17" fmla="*/ 1362184 h 1377949"/>
                    <a:gd name="connsiteX18" fmla="*/ 0 w 1443038"/>
                    <a:gd name="connsiteY18" fmla="*/ 1290527 h 1377949"/>
                    <a:gd name="connsiteX19" fmla="*/ 15765 w 1443038"/>
                    <a:gd name="connsiteY19" fmla="*/ 1274762 h 1377949"/>
                    <a:gd name="connsiteX20" fmla="*/ 502474 w 1443038"/>
                    <a:gd name="connsiteY20" fmla="*/ 969962 h 1377949"/>
                    <a:gd name="connsiteX21" fmla="*/ 513894 w 1443038"/>
                    <a:gd name="connsiteY21" fmla="*/ 969962 h 1377949"/>
                    <a:gd name="connsiteX22" fmla="*/ 533880 w 1443038"/>
                    <a:gd name="connsiteY22" fmla="*/ 986406 h 1377949"/>
                    <a:gd name="connsiteX23" fmla="*/ 544586 w 1443038"/>
                    <a:gd name="connsiteY23" fmla="*/ 994985 h 1377949"/>
                    <a:gd name="connsiteX24" fmla="*/ 718030 w 1443038"/>
                    <a:gd name="connsiteY24" fmla="*/ 1137261 h 1377949"/>
                    <a:gd name="connsiteX25" fmla="*/ 726595 w 1443038"/>
                    <a:gd name="connsiteY25" fmla="*/ 1136546 h 1377949"/>
                    <a:gd name="connsiteX26" fmla="*/ 900038 w 1443038"/>
                    <a:gd name="connsiteY26" fmla="*/ 994985 h 1377949"/>
                    <a:gd name="connsiteX27" fmla="*/ 910745 w 1443038"/>
                    <a:gd name="connsiteY27" fmla="*/ 986406 h 1377949"/>
                    <a:gd name="connsiteX28" fmla="*/ 930730 w 1443038"/>
                    <a:gd name="connsiteY28" fmla="*/ 969962 h 1377949"/>
                    <a:gd name="connsiteX29" fmla="*/ 942150 w 1443038"/>
                    <a:gd name="connsiteY29" fmla="*/ 969962 h 1377949"/>
                    <a:gd name="connsiteX30" fmla="*/ 1207669 w 1443038"/>
                    <a:gd name="connsiteY30" fmla="*/ 1017149 h 1377949"/>
                    <a:gd name="connsiteX31" fmla="*/ 1363268 w 1443038"/>
                    <a:gd name="connsiteY31" fmla="*/ 1243789 h 1377949"/>
                    <a:gd name="connsiteX32" fmla="*/ 1348279 w 1443038"/>
                    <a:gd name="connsiteY32" fmla="*/ 1265237 h 1377949"/>
                    <a:gd name="connsiteX33" fmla="*/ 96345 w 1443038"/>
                    <a:gd name="connsiteY33" fmla="*/ 1265237 h 1377949"/>
                    <a:gd name="connsiteX34" fmla="*/ 81356 w 1443038"/>
                    <a:gd name="connsiteY34" fmla="*/ 1243789 h 1377949"/>
                    <a:gd name="connsiteX35" fmla="*/ 236956 w 1443038"/>
                    <a:gd name="connsiteY35" fmla="*/ 1017149 h 1377949"/>
                    <a:gd name="connsiteX36" fmla="*/ 502474 w 1443038"/>
                    <a:gd name="connsiteY36" fmla="*/ 969962 h 1377949"/>
                    <a:gd name="connsiteX37" fmla="*/ 461962 w 1443038"/>
                    <a:gd name="connsiteY37" fmla="*/ 736600 h 1377949"/>
                    <a:gd name="connsiteX38" fmla="*/ 496284 w 1443038"/>
                    <a:gd name="connsiteY38" fmla="*/ 736600 h 1377949"/>
                    <a:gd name="connsiteX39" fmla="*/ 559922 w 1443038"/>
                    <a:gd name="connsiteY39" fmla="*/ 858347 h 1377949"/>
                    <a:gd name="connsiteX40" fmla="*/ 567072 w 1443038"/>
                    <a:gd name="connsiteY40" fmla="*/ 864043 h 1377949"/>
                    <a:gd name="connsiteX41" fmla="*/ 595673 w 1443038"/>
                    <a:gd name="connsiteY41" fmla="*/ 885402 h 1377949"/>
                    <a:gd name="connsiteX42" fmla="*/ 721519 w 1443038"/>
                    <a:gd name="connsiteY42" fmla="*/ 938800 h 1377949"/>
                    <a:gd name="connsiteX43" fmla="*/ 847364 w 1443038"/>
                    <a:gd name="connsiteY43" fmla="*/ 885402 h 1377949"/>
                    <a:gd name="connsiteX44" fmla="*/ 875966 w 1443038"/>
                    <a:gd name="connsiteY44" fmla="*/ 864043 h 1377949"/>
                    <a:gd name="connsiteX45" fmla="*/ 883116 w 1443038"/>
                    <a:gd name="connsiteY45" fmla="*/ 858347 h 1377949"/>
                    <a:gd name="connsiteX46" fmla="*/ 946754 w 1443038"/>
                    <a:gd name="connsiteY46" fmla="*/ 736600 h 1377949"/>
                    <a:gd name="connsiteX47" fmla="*/ 981075 w 1443038"/>
                    <a:gd name="connsiteY47" fmla="*/ 736600 h 1377949"/>
                    <a:gd name="connsiteX48" fmla="*/ 918152 w 1443038"/>
                    <a:gd name="connsiteY48" fmla="*/ 864043 h 1377949"/>
                    <a:gd name="connsiteX49" fmla="*/ 910287 w 1443038"/>
                    <a:gd name="connsiteY49" fmla="*/ 874722 h 1377949"/>
                    <a:gd name="connsiteX50" fmla="*/ 910287 w 1443038"/>
                    <a:gd name="connsiteY50" fmla="*/ 916728 h 1377949"/>
                    <a:gd name="connsiteX51" fmla="*/ 910287 w 1443038"/>
                    <a:gd name="connsiteY51" fmla="*/ 945919 h 1377949"/>
                    <a:gd name="connsiteX52" fmla="*/ 878826 w 1443038"/>
                    <a:gd name="connsiteY52" fmla="*/ 971550 h 1377949"/>
                    <a:gd name="connsiteX53" fmla="*/ 878826 w 1443038"/>
                    <a:gd name="connsiteY53" fmla="*/ 939511 h 1377949"/>
                    <a:gd name="connsiteX54" fmla="*/ 878826 w 1443038"/>
                    <a:gd name="connsiteY54" fmla="*/ 901065 h 1377949"/>
                    <a:gd name="connsiteX55" fmla="*/ 847364 w 1443038"/>
                    <a:gd name="connsiteY55" fmla="*/ 922424 h 1377949"/>
                    <a:gd name="connsiteX56" fmla="*/ 721519 w 1443038"/>
                    <a:gd name="connsiteY56" fmla="*/ 970126 h 1377949"/>
                    <a:gd name="connsiteX57" fmla="*/ 595673 w 1443038"/>
                    <a:gd name="connsiteY57" fmla="*/ 922424 h 1377949"/>
                    <a:gd name="connsiteX58" fmla="*/ 564212 w 1443038"/>
                    <a:gd name="connsiteY58" fmla="*/ 901065 h 1377949"/>
                    <a:gd name="connsiteX59" fmla="*/ 564212 w 1443038"/>
                    <a:gd name="connsiteY59" fmla="*/ 939511 h 1377949"/>
                    <a:gd name="connsiteX60" fmla="*/ 564212 w 1443038"/>
                    <a:gd name="connsiteY60" fmla="*/ 971550 h 1377949"/>
                    <a:gd name="connsiteX61" fmla="*/ 532750 w 1443038"/>
                    <a:gd name="connsiteY61" fmla="*/ 945919 h 1377949"/>
                    <a:gd name="connsiteX62" fmla="*/ 532750 w 1443038"/>
                    <a:gd name="connsiteY62" fmla="*/ 916728 h 1377949"/>
                    <a:gd name="connsiteX63" fmla="*/ 532750 w 1443038"/>
                    <a:gd name="connsiteY63" fmla="*/ 874722 h 1377949"/>
                    <a:gd name="connsiteX64" fmla="*/ 524885 w 1443038"/>
                    <a:gd name="connsiteY64" fmla="*/ 864043 h 1377949"/>
                    <a:gd name="connsiteX65" fmla="*/ 461962 w 1443038"/>
                    <a:gd name="connsiteY65" fmla="*/ 736600 h 1377949"/>
                    <a:gd name="connsiteX66" fmla="*/ 195101 w 1443038"/>
                    <a:gd name="connsiteY66" fmla="*/ 673100 h 1377949"/>
                    <a:gd name="connsiteX67" fmla="*/ 396526 w 1443038"/>
                    <a:gd name="connsiteY67" fmla="*/ 673100 h 1377949"/>
                    <a:gd name="connsiteX68" fmla="*/ 435810 w 1443038"/>
                    <a:gd name="connsiteY68" fmla="*/ 673100 h 1377949"/>
                    <a:gd name="connsiteX69" fmla="*/ 470095 w 1443038"/>
                    <a:gd name="connsiteY69" fmla="*/ 673100 h 1377949"/>
                    <a:gd name="connsiteX70" fmla="*/ 503666 w 1443038"/>
                    <a:gd name="connsiteY70" fmla="*/ 673100 h 1377949"/>
                    <a:gd name="connsiteX71" fmla="*/ 679377 w 1443038"/>
                    <a:gd name="connsiteY71" fmla="*/ 673100 h 1377949"/>
                    <a:gd name="connsiteX72" fmla="*/ 715090 w 1443038"/>
                    <a:gd name="connsiteY72" fmla="*/ 673100 h 1377949"/>
                    <a:gd name="connsiteX73" fmla="*/ 760804 w 1443038"/>
                    <a:gd name="connsiteY73" fmla="*/ 673100 h 1377949"/>
                    <a:gd name="connsiteX74" fmla="*/ 795803 w 1443038"/>
                    <a:gd name="connsiteY74" fmla="*/ 673100 h 1377949"/>
                    <a:gd name="connsiteX75" fmla="*/ 939371 w 1443038"/>
                    <a:gd name="connsiteY75" fmla="*/ 673100 h 1377949"/>
                    <a:gd name="connsiteX76" fmla="*/ 972942 w 1443038"/>
                    <a:gd name="connsiteY76" fmla="*/ 673100 h 1377949"/>
                    <a:gd name="connsiteX77" fmla="*/ 1007227 w 1443038"/>
                    <a:gd name="connsiteY77" fmla="*/ 673100 h 1377949"/>
                    <a:gd name="connsiteX78" fmla="*/ 1046512 w 1443038"/>
                    <a:gd name="connsiteY78" fmla="*/ 673100 h 1377949"/>
                    <a:gd name="connsiteX79" fmla="*/ 1247936 w 1443038"/>
                    <a:gd name="connsiteY79" fmla="*/ 673100 h 1377949"/>
                    <a:gd name="connsiteX80" fmla="*/ 1263650 w 1443038"/>
                    <a:gd name="connsiteY80" fmla="*/ 688975 h 1377949"/>
                    <a:gd name="connsiteX81" fmla="*/ 1247936 w 1443038"/>
                    <a:gd name="connsiteY81" fmla="*/ 704850 h 1377949"/>
                    <a:gd name="connsiteX82" fmla="*/ 1027941 w 1443038"/>
                    <a:gd name="connsiteY82" fmla="*/ 704850 h 1377949"/>
                    <a:gd name="connsiteX83" fmla="*/ 994370 w 1443038"/>
                    <a:gd name="connsiteY83" fmla="*/ 704850 h 1377949"/>
                    <a:gd name="connsiteX84" fmla="*/ 960085 w 1443038"/>
                    <a:gd name="connsiteY84" fmla="*/ 704850 h 1377949"/>
                    <a:gd name="connsiteX85" fmla="*/ 925800 w 1443038"/>
                    <a:gd name="connsiteY85" fmla="*/ 704850 h 1377949"/>
                    <a:gd name="connsiteX86" fmla="*/ 770089 w 1443038"/>
                    <a:gd name="connsiteY86" fmla="*/ 704850 h 1377949"/>
                    <a:gd name="connsiteX87" fmla="*/ 705805 w 1443038"/>
                    <a:gd name="connsiteY87" fmla="*/ 704850 h 1377949"/>
                    <a:gd name="connsiteX88" fmla="*/ 517237 w 1443038"/>
                    <a:gd name="connsiteY88" fmla="*/ 704850 h 1377949"/>
                    <a:gd name="connsiteX89" fmla="*/ 482952 w 1443038"/>
                    <a:gd name="connsiteY89" fmla="*/ 704850 h 1377949"/>
                    <a:gd name="connsiteX90" fmla="*/ 448667 w 1443038"/>
                    <a:gd name="connsiteY90" fmla="*/ 704850 h 1377949"/>
                    <a:gd name="connsiteX91" fmla="*/ 415097 w 1443038"/>
                    <a:gd name="connsiteY91" fmla="*/ 704850 h 1377949"/>
                    <a:gd name="connsiteX92" fmla="*/ 195101 w 1443038"/>
                    <a:gd name="connsiteY92" fmla="*/ 704850 h 1377949"/>
                    <a:gd name="connsiteX93" fmla="*/ 179387 w 1443038"/>
                    <a:gd name="connsiteY93" fmla="*/ 688975 h 1377949"/>
                    <a:gd name="connsiteX94" fmla="*/ 195101 w 1443038"/>
                    <a:gd name="connsiteY94" fmla="*/ 673100 h 1377949"/>
                    <a:gd name="connsiteX95" fmla="*/ 1062037 w 1443038"/>
                    <a:gd name="connsiteY95" fmla="*/ 579437 h 1377949"/>
                    <a:gd name="connsiteX96" fmla="*/ 1062037 w 1443038"/>
                    <a:gd name="connsiteY96" fmla="*/ 581548 h 1377949"/>
                    <a:gd name="connsiteX97" fmla="*/ 1034263 w 1443038"/>
                    <a:gd name="connsiteY97" fmla="*/ 641349 h 1377949"/>
                    <a:gd name="connsiteX98" fmla="*/ 985837 w 1443038"/>
                    <a:gd name="connsiteY98" fmla="*/ 641349 h 1377949"/>
                    <a:gd name="connsiteX99" fmla="*/ 992959 w 1443038"/>
                    <a:gd name="connsiteY99" fmla="*/ 633610 h 1377949"/>
                    <a:gd name="connsiteX100" fmla="*/ 1025718 w 1443038"/>
                    <a:gd name="connsiteY100" fmla="*/ 596322 h 1377949"/>
                    <a:gd name="connsiteX101" fmla="*/ 1062037 w 1443038"/>
                    <a:gd name="connsiteY101" fmla="*/ 579437 h 1377949"/>
                    <a:gd name="connsiteX102" fmla="*/ 381000 w 1443038"/>
                    <a:gd name="connsiteY102" fmla="*/ 579437 h 1377949"/>
                    <a:gd name="connsiteX103" fmla="*/ 417320 w 1443038"/>
                    <a:gd name="connsiteY103" fmla="*/ 596322 h 1377949"/>
                    <a:gd name="connsiteX104" fmla="*/ 450079 w 1443038"/>
                    <a:gd name="connsiteY104" fmla="*/ 633610 h 1377949"/>
                    <a:gd name="connsiteX105" fmla="*/ 457200 w 1443038"/>
                    <a:gd name="connsiteY105" fmla="*/ 641349 h 1377949"/>
                    <a:gd name="connsiteX106" fmla="*/ 408774 w 1443038"/>
                    <a:gd name="connsiteY106" fmla="*/ 641349 h 1377949"/>
                    <a:gd name="connsiteX107" fmla="*/ 381000 w 1443038"/>
                    <a:gd name="connsiteY107" fmla="*/ 582955 h 1377949"/>
                    <a:gd name="connsiteX108" fmla="*/ 381000 w 1443038"/>
                    <a:gd name="connsiteY108" fmla="*/ 579437 h 1377949"/>
                    <a:gd name="connsiteX109" fmla="*/ 1355615 w 1443038"/>
                    <a:gd name="connsiteY109" fmla="*/ 0 h 1377949"/>
                    <a:gd name="connsiteX110" fmla="*/ 1427273 w 1443038"/>
                    <a:gd name="connsiteY110" fmla="*/ 0 h 1377949"/>
                    <a:gd name="connsiteX111" fmla="*/ 1443038 w 1443038"/>
                    <a:gd name="connsiteY111" fmla="*/ 15765 h 1377949"/>
                    <a:gd name="connsiteX112" fmla="*/ 1443038 w 1443038"/>
                    <a:gd name="connsiteY112" fmla="*/ 87422 h 1377949"/>
                    <a:gd name="connsiteX113" fmla="*/ 1427273 w 1443038"/>
                    <a:gd name="connsiteY113" fmla="*/ 103187 h 1377949"/>
                    <a:gd name="connsiteX114" fmla="*/ 1411509 w 1443038"/>
                    <a:gd name="connsiteY114" fmla="*/ 87422 h 1377949"/>
                    <a:gd name="connsiteX115" fmla="*/ 1411509 w 1443038"/>
                    <a:gd name="connsiteY115" fmla="*/ 31529 h 1377949"/>
                    <a:gd name="connsiteX116" fmla="*/ 1355615 w 1443038"/>
                    <a:gd name="connsiteY116" fmla="*/ 31529 h 1377949"/>
                    <a:gd name="connsiteX117" fmla="*/ 1339850 w 1443038"/>
                    <a:gd name="connsiteY117" fmla="*/ 15765 h 1377949"/>
                    <a:gd name="connsiteX118" fmla="*/ 1355615 w 1443038"/>
                    <a:gd name="connsiteY118" fmla="*/ 0 h 1377949"/>
                    <a:gd name="connsiteX119" fmla="*/ 15765 w 1443038"/>
                    <a:gd name="connsiteY119" fmla="*/ 0 h 1377949"/>
                    <a:gd name="connsiteX120" fmla="*/ 87423 w 1443038"/>
                    <a:gd name="connsiteY120" fmla="*/ 0 h 1377949"/>
                    <a:gd name="connsiteX121" fmla="*/ 103188 w 1443038"/>
                    <a:gd name="connsiteY121" fmla="*/ 15765 h 1377949"/>
                    <a:gd name="connsiteX122" fmla="*/ 87423 w 1443038"/>
                    <a:gd name="connsiteY122" fmla="*/ 31529 h 1377949"/>
                    <a:gd name="connsiteX123" fmla="*/ 31529 w 1443038"/>
                    <a:gd name="connsiteY123" fmla="*/ 31529 h 1377949"/>
                    <a:gd name="connsiteX124" fmla="*/ 31529 w 1443038"/>
                    <a:gd name="connsiteY124" fmla="*/ 87422 h 1377949"/>
                    <a:gd name="connsiteX125" fmla="*/ 15765 w 1443038"/>
                    <a:gd name="connsiteY125" fmla="*/ 103187 h 1377949"/>
                    <a:gd name="connsiteX126" fmla="*/ 0 w 1443038"/>
                    <a:gd name="connsiteY126" fmla="*/ 87422 h 1377949"/>
                    <a:gd name="connsiteX127" fmla="*/ 0 w 1443038"/>
                    <a:gd name="connsiteY127" fmla="*/ 15765 h 1377949"/>
                    <a:gd name="connsiteX128" fmla="*/ 15765 w 1443038"/>
                    <a:gd name="connsiteY128" fmla="*/ 0 h 13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443038" h="1377949">
                      <a:moveTo>
                        <a:pt x="1427273" y="1274762"/>
                      </a:moveTo>
                      <a:cubicBezTo>
                        <a:pt x="1435872" y="1274762"/>
                        <a:pt x="1443038" y="1281928"/>
                        <a:pt x="1443038" y="1290527"/>
                      </a:cubicBezTo>
                      <a:cubicBezTo>
                        <a:pt x="1443038" y="1290527"/>
                        <a:pt x="1443038" y="1290527"/>
                        <a:pt x="1443038" y="1362184"/>
                      </a:cubicBezTo>
                      <a:cubicBezTo>
                        <a:pt x="1443038" y="1371500"/>
                        <a:pt x="1435872" y="1377949"/>
                        <a:pt x="1427273" y="1377949"/>
                      </a:cubicBezTo>
                      <a:cubicBezTo>
                        <a:pt x="1427273" y="1377949"/>
                        <a:pt x="1427273" y="1377949"/>
                        <a:pt x="1355615" y="1377949"/>
                      </a:cubicBezTo>
                      <a:cubicBezTo>
                        <a:pt x="1347016" y="1377949"/>
                        <a:pt x="1339850" y="1371500"/>
                        <a:pt x="1339850" y="1362184"/>
                      </a:cubicBezTo>
                      <a:cubicBezTo>
                        <a:pt x="1339850" y="1353586"/>
                        <a:pt x="1347016" y="1346420"/>
                        <a:pt x="1355615" y="1346420"/>
                      </a:cubicBezTo>
                      <a:cubicBezTo>
                        <a:pt x="1355615" y="1346420"/>
                        <a:pt x="1355615" y="1346420"/>
                        <a:pt x="1411509" y="1346420"/>
                      </a:cubicBezTo>
                      <a:cubicBezTo>
                        <a:pt x="1411509" y="1346420"/>
                        <a:pt x="1411509" y="1346420"/>
                        <a:pt x="1411509" y="1290527"/>
                      </a:cubicBezTo>
                      <a:cubicBezTo>
                        <a:pt x="1411509" y="1281928"/>
                        <a:pt x="1418674" y="1274762"/>
                        <a:pt x="1427273" y="1274762"/>
                      </a:cubicBezTo>
                      <a:close/>
                      <a:moveTo>
                        <a:pt x="15765" y="1274762"/>
                      </a:moveTo>
                      <a:cubicBezTo>
                        <a:pt x="24364" y="1274762"/>
                        <a:pt x="31529" y="1281928"/>
                        <a:pt x="31529" y="1290527"/>
                      </a:cubicBezTo>
                      <a:cubicBezTo>
                        <a:pt x="31529" y="1290527"/>
                        <a:pt x="31529" y="1290527"/>
                        <a:pt x="31529" y="1346420"/>
                      </a:cubicBezTo>
                      <a:cubicBezTo>
                        <a:pt x="31529" y="1346420"/>
                        <a:pt x="31529" y="1346420"/>
                        <a:pt x="87423" y="1346420"/>
                      </a:cubicBezTo>
                      <a:cubicBezTo>
                        <a:pt x="96022" y="1346420"/>
                        <a:pt x="103188" y="1353586"/>
                        <a:pt x="103188" y="1362184"/>
                      </a:cubicBezTo>
                      <a:cubicBezTo>
                        <a:pt x="103188" y="1371500"/>
                        <a:pt x="96022" y="1377949"/>
                        <a:pt x="87423" y="1377949"/>
                      </a:cubicBezTo>
                      <a:cubicBezTo>
                        <a:pt x="87423" y="1377949"/>
                        <a:pt x="87423" y="1377949"/>
                        <a:pt x="15765" y="1377949"/>
                      </a:cubicBezTo>
                      <a:cubicBezTo>
                        <a:pt x="7166" y="1377949"/>
                        <a:pt x="0" y="1371500"/>
                        <a:pt x="0" y="1362184"/>
                      </a:cubicBezTo>
                      <a:cubicBezTo>
                        <a:pt x="0" y="1362184"/>
                        <a:pt x="0" y="1362184"/>
                        <a:pt x="0" y="1290527"/>
                      </a:cubicBezTo>
                      <a:cubicBezTo>
                        <a:pt x="0" y="1281928"/>
                        <a:pt x="7166" y="1274762"/>
                        <a:pt x="15765" y="1274762"/>
                      </a:cubicBezTo>
                      <a:close/>
                      <a:moveTo>
                        <a:pt x="502474" y="969962"/>
                      </a:moveTo>
                      <a:cubicBezTo>
                        <a:pt x="509612" y="969962"/>
                        <a:pt x="513894" y="969962"/>
                        <a:pt x="513894" y="969962"/>
                      </a:cubicBezTo>
                      <a:cubicBezTo>
                        <a:pt x="513894" y="969962"/>
                        <a:pt x="521032" y="975682"/>
                        <a:pt x="533880" y="986406"/>
                      </a:cubicBezTo>
                      <a:cubicBezTo>
                        <a:pt x="537448" y="989266"/>
                        <a:pt x="541017" y="992126"/>
                        <a:pt x="544586" y="994985"/>
                      </a:cubicBezTo>
                      <a:cubicBezTo>
                        <a:pt x="588839" y="1032163"/>
                        <a:pt x="671635" y="1100083"/>
                        <a:pt x="718030" y="1137261"/>
                      </a:cubicBezTo>
                      <a:cubicBezTo>
                        <a:pt x="720885" y="1138691"/>
                        <a:pt x="724453" y="1138691"/>
                        <a:pt x="726595" y="1136546"/>
                      </a:cubicBezTo>
                      <a:cubicBezTo>
                        <a:pt x="787264" y="1087929"/>
                        <a:pt x="860068" y="1028588"/>
                        <a:pt x="900038" y="994985"/>
                      </a:cubicBezTo>
                      <a:cubicBezTo>
                        <a:pt x="903607" y="992126"/>
                        <a:pt x="907176" y="989266"/>
                        <a:pt x="910745" y="986406"/>
                      </a:cubicBezTo>
                      <a:cubicBezTo>
                        <a:pt x="923592" y="975682"/>
                        <a:pt x="930730" y="969962"/>
                        <a:pt x="930730" y="969962"/>
                      </a:cubicBezTo>
                      <a:cubicBezTo>
                        <a:pt x="930730" y="969962"/>
                        <a:pt x="935013" y="969962"/>
                        <a:pt x="942150" y="969962"/>
                      </a:cubicBezTo>
                      <a:cubicBezTo>
                        <a:pt x="982835" y="971392"/>
                        <a:pt x="1124873" y="978542"/>
                        <a:pt x="1207669" y="1017149"/>
                      </a:cubicBezTo>
                      <a:cubicBezTo>
                        <a:pt x="1286182" y="1052897"/>
                        <a:pt x="1343283" y="1190882"/>
                        <a:pt x="1363268" y="1243789"/>
                      </a:cubicBezTo>
                      <a:cubicBezTo>
                        <a:pt x="1366837" y="1253798"/>
                        <a:pt x="1359700" y="1265237"/>
                        <a:pt x="1348279" y="1265237"/>
                      </a:cubicBezTo>
                      <a:cubicBezTo>
                        <a:pt x="1348279" y="1265237"/>
                        <a:pt x="1348279" y="1265237"/>
                        <a:pt x="96345" y="1265237"/>
                      </a:cubicBezTo>
                      <a:cubicBezTo>
                        <a:pt x="84924" y="1265237"/>
                        <a:pt x="77787" y="1253798"/>
                        <a:pt x="81356" y="1243789"/>
                      </a:cubicBezTo>
                      <a:cubicBezTo>
                        <a:pt x="101341" y="1190882"/>
                        <a:pt x="158442" y="1052897"/>
                        <a:pt x="236956" y="1017149"/>
                      </a:cubicBezTo>
                      <a:cubicBezTo>
                        <a:pt x="319752" y="978542"/>
                        <a:pt x="461790" y="971392"/>
                        <a:pt x="502474" y="969962"/>
                      </a:cubicBezTo>
                      <a:close/>
                      <a:moveTo>
                        <a:pt x="461962" y="736600"/>
                      </a:moveTo>
                      <a:cubicBezTo>
                        <a:pt x="461962" y="736600"/>
                        <a:pt x="461962" y="736600"/>
                        <a:pt x="496284" y="736600"/>
                      </a:cubicBezTo>
                      <a:cubicBezTo>
                        <a:pt x="520595" y="792846"/>
                        <a:pt x="547051" y="846955"/>
                        <a:pt x="559922" y="858347"/>
                      </a:cubicBezTo>
                      <a:cubicBezTo>
                        <a:pt x="562067" y="860483"/>
                        <a:pt x="564927" y="861907"/>
                        <a:pt x="567072" y="864043"/>
                      </a:cubicBezTo>
                      <a:cubicBezTo>
                        <a:pt x="574937" y="870450"/>
                        <a:pt x="584948" y="877570"/>
                        <a:pt x="595673" y="885402"/>
                      </a:cubicBezTo>
                      <a:cubicBezTo>
                        <a:pt x="634285" y="911033"/>
                        <a:pt x="687912" y="938800"/>
                        <a:pt x="721519" y="938800"/>
                      </a:cubicBezTo>
                      <a:cubicBezTo>
                        <a:pt x="755125" y="938800"/>
                        <a:pt x="808753" y="911033"/>
                        <a:pt x="847364" y="885402"/>
                      </a:cubicBezTo>
                      <a:cubicBezTo>
                        <a:pt x="858090" y="877570"/>
                        <a:pt x="868100" y="870450"/>
                        <a:pt x="875966" y="864043"/>
                      </a:cubicBezTo>
                      <a:cubicBezTo>
                        <a:pt x="878111" y="861907"/>
                        <a:pt x="880971" y="860483"/>
                        <a:pt x="883116" y="858347"/>
                      </a:cubicBezTo>
                      <a:cubicBezTo>
                        <a:pt x="895986" y="846955"/>
                        <a:pt x="922443" y="792846"/>
                        <a:pt x="946754" y="736600"/>
                      </a:cubicBezTo>
                      <a:cubicBezTo>
                        <a:pt x="946754" y="736600"/>
                        <a:pt x="946754" y="736600"/>
                        <a:pt x="981075" y="736600"/>
                      </a:cubicBezTo>
                      <a:cubicBezTo>
                        <a:pt x="961769" y="782878"/>
                        <a:pt x="936743" y="835564"/>
                        <a:pt x="918152" y="864043"/>
                      </a:cubicBezTo>
                      <a:cubicBezTo>
                        <a:pt x="915292" y="868315"/>
                        <a:pt x="912432" y="871874"/>
                        <a:pt x="910287" y="874722"/>
                      </a:cubicBezTo>
                      <a:cubicBezTo>
                        <a:pt x="910287" y="874722"/>
                        <a:pt x="910287" y="874722"/>
                        <a:pt x="910287" y="916728"/>
                      </a:cubicBezTo>
                      <a:cubicBezTo>
                        <a:pt x="910287" y="916728"/>
                        <a:pt x="910287" y="916728"/>
                        <a:pt x="910287" y="945919"/>
                      </a:cubicBezTo>
                      <a:cubicBezTo>
                        <a:pt x="908142" y="947343"/>
                        <a:pt x="896701" y="957311"/>
                        <a:pt x="878826" y="971550"/>
                      </a:cubicBezTo>
                      <a:lnTo>
                        <a:pt x="878826" y="939511"/>
                      </a:lnTo>
                      <a:cubicBezTo>
                        <a:pt x="878826" y="939511"/>
                        <a:pt x="878826" y="939511"/>
                        <a:pt x="878826" y="901065"/>
                      </a:cubicBezTo>
                      <a:cubicBezTo>
                        <a:pt x="869530" y="908185"/>
                        <a:pt x="858805" y="915305"/>
                        <a:pt x="847364" y="922424"/>
                      </a:cubicBezTo>
                      <a:cubicBezTo>
                        <a:pt x="807323" y="946631"/>
                        <a:pt x="757985" y="970126"/>
                        <a:pt x="721519" y="970126"/>
                      </a:cubicBezTo>
                      <a:cubicBezTo>
                        <a:pt x="685052" y="970126"/>
                        <a:pt x="635715" y="946631"/>
                        <a:pt x="595673" y="922424"/>
                      </a:cubicBezTo>
                      <a:cubicBezTo>
                        <a:pt x="584233" y="915305"/>
                        <a:pt x="573507" y="908185"/>
                        <a:pt x="564212" y="901065"/>
                      </a:cubicBezTo>
                      <a:cubicBezTo>
                        <a:pt x="564212" y="901065"/>
                        <a:pt x="564212" y="901065"/>
                        <a:pt x="564212" y="939511"/>
                      </a:cubicBezTo>
                      <a:cubicBezTo>
                        <a:pt x="564212" y="939511"/>
                        <a:pt x="564212" y="939511"/>
                        <a:pt x="564212" y="971550"/>
                      </a:cubicBezTo>
                      <a:cubicBezTo>
                        <a:pt x="547051" y="957311"/>
                        <a:pt x="534895" y="947343"/>
                        <a:pt x="532750" y="945919"/>
                      </a:cubicBezTo>
                      <a:cubicBezTo>
                        <a:pt x="532750" y="945919"/>
                        <a:pt x="532750" y="945919"/>
                        <a:pt x="532750" y="916728"/>
                      </a:cubicBezTo>
                      <a:cubicBezTo>
                        <a:pt x="532750" y="916728"/>
                        <a:pt x="532750" y="916728"/>
                        <a:pt x="532750" y="874722"/>
                      </a:cubicBezTo>
                      <a:cubicBezTo>
                        <a:pt x="530605" y="871874"/>
                        <a:pt x="527745" y="868315"/>
                        <a:pt x="524885" y="864043"/>
                      </a:cubicBezTo>
                      <a:cubicBezTo>
                        <a:pt x="506294" y="835564"/>
                        <a:pt x="481268" y="782878"/>
                        <a:pt x="461962" y="736600"/>
                      </a:cubicBezTo>
                      <a:close/>
                      <a:moveTo>
                        <a:pt x="195101" y="673100"/>
                      </a:moveTo>
                      <a:cubicBezTo>
                        <a:pt x="195101" y="673100"/>
                        <a:pt x="195101" y="673100"/>
                        <a:pt x="396526" y="673100"/>
                      </a:cubicBezTo>
                      <a:cubicBezTo>
                        <a:pt x="396526" y="673100"/>
                        <a:pt x="396526" y="673100"/>
                        <a:pt x="435810" y="673100"/>
                      </a:cubicBezTo>
                      <a:cubicBezTo>
                        <a:pt x="435810" y="673100"/>
                        <a:pt x="435810" y="673100"/>
                        <a:pt x="470095" y="673100"/>
                      </a:cubicBezTo>
                      <a:cubicBezTo>
                        <a:pt x="470095" y="673100"/>
                        <a:pt x="470095" y="673100"/>
                        <a:pt x="503666" y="673100"/>
                      </a:cubicBezTo>
                      <a:cubicBezTo>
                        <a:pt x="503666" y="673100"/>
                        <a:pt x="503666" y="673100"/>
                        <a:pt x="679377" y="673100"/>
                      </a:cubicBezTo>
                      <a:cubicBezTo>
                        <a:pt x="679377" y="673100"/>
                        <a:pt x="679377" y="673100"/>
                        <a:pt x="715090" y="673100"/>
                      </a:cubicBezTo>
                      <a:cubicBezTo>
                        <a:pt x="715090" y="673100"/>
                        <a:pt x="715090" y="673100"/>
                        <a:pt x="760804" y="673100"/>
                      </a:cubicBezTo>
                      <a:cubicBezTo>
                        <a:pt x="760804" y="673100"/>
                        <a:pt x="760804" y="673100"/>
                        <a:pt x="795803" y="673100"/>
                      </a:cubicBezTo>
                      <a:cubicBezTo>
                        <a:pt x="795803" y="673100"/>
                        <a:pt x="795803" y="673100"/>
                        <a:pt x="939371" y="673100"/>
                      </a:cubicBezTo>
                      <a:cubicBezTo>
                        <a:pt x="939371" y="673100"/>
                        <a:pt x="939371" y="673100"/>
                        <a:pt x="972942" y="673100"/>
                      </a:cubicBezTo>
                      <a:cubicBezTo>
                        <a:pt x="972942" y="673100"/>
                        <a:pt x="972942" y="673100"/>
                        <a:pt x="1007227" y="673100"/>
                      </a:cubicBezTo>
                      <a:cubicBezTo>
                        <a:pt x="1007227" y="673100"/>
                        <a:pt x="1007227" y="673100"/>
                        <a:pt x="1046512" y="673100"/>
                      </a:cubicBezTo>
                      <a:cubicBezTo>
                        <a:pt x="1046512" y="673100"/>
                        <a:pt x="1046512" y="673100"/>
                        <a:pt x="1247936" y="673100"/>
                      </a:cubicBezTo>
                      <a:cubicBezTo>
                        <a:pt x="1256507" y="673100"/>
                        <a:pt x="1263650" y="680316"/>
                        <a:pt x="1263650" y="688975"/>
                      </a:cubicBezTo>
                      <a:cubicBezTo>
                        <a:pt x="1263650" y="697634"/>
                        <a:pt x="1256507" y="704850"/>
                        <a:pt x="1247936" y="704850"/>
                      </a:cubicBezTo>
                      <a:cubicBezTo>
                        <a:pt x="1247936" y="704850"/>
                        <a:pt x="1247936" y="704850"/>
                        <a:pt x="1027941" y="704850"/>
                      </a:cubicBezTo>
                      <a:cubicBezTo>
                        <a:pt x="1027941" y="704850"/>
                        <a:pt x="1027941" y="704850"/>
                        <a:pt x="994370" y="704850"/>
                      </a:cubicBezTo>
                      <a:cubicBezTo>
                        <a:pt x="994370" y="704850"/>
                        <a:pt x="994370" y="704850"/>
                        <a:pt x="960085" y="704850"/>
                      </a:cubicBezTo>
                      <a:cubicBezTo>
                        <a:pt x="960085" y="704850"/>
                        <a:pt x="960085" y="704850"/>
                        <a:pt x="925800" y="704850"/>
                      </a:cubicBezTo>
                      <a:cubicBezTo>
                        <a:pt x="925800" y="704850"/>
                        <a:pt x="925800" y="704850"/>
                        <a:pt x="770089" y="704850"/>
                      </a:cubicBezTo>
                      <a:cubicBezTo>
                        <a:pt x="770089" y="704850"/>
                        <a:pt x="770089" y="704850"/>
                        <a:pt x="705805" y="704850"/>
                      </a:cubicBezTo>
                      <a:cubicBezTo>
                        <a:pt x="705805" y="704850"/>
                        <a:pt x="705805" y="704850"/>
                        <a:pt x="517237" y="704850"/>
                      </a:cubicBezTo>
                      <a:cubicBezTo>
                        <a:pt x="517237" y="704850"/>
                        <a:pt x="517237" y="704850"/>
                        <a:pt x="482952" y="704850"/>
                      </a:cubicBezTo>
                      <a:cubicBezTo>
                        <a:pt x="482952" y="704850"/>
                        <a:pt x="482952" y="704850"/>
                        <a:pt x="448667" y="704850"/>
                      </a:cubicBezTo>
                      <a:cubicBezTo>
                        <a:pt x="448667" y="704850"/>
                        <a:pt x="448667" y="704850"/>
                        <a:pt x="415097" y="704850"/>
                      </a:cubicBezTo>
                      <a:cubicBezTo>
                        <a:pt x="415097" y="704850"/>
                        <a:pt x="415097" y="704850"/>
                        <a:pt x="195101" y="704850"/>
                      </a:cubicBezTo>
                      <a:cubicBezTo>
                        <a:pt x="186530" y="704850"/>
                        <a:pt x="179387" y="697634"/>
                        <a:pt x="179387" y="688975"/>
                      </a:cubicBezTo>
                      <a:cubicBezTo>
                        <a:pt x="179387" y="680316"/>
                        <a:pt x="186530" y="673100"/>
                        <a:pt x="195101" y="673100"/>
                      </a:cubicBezTo>
                      <a:close/>
                      <a:moveTo>
                        <a:pt x="1062037" y="579437"/>
                      </a:moveTo>
                      <a:cubicBezTo>
                        <a:pt x="1062037" y="580140"/>
                        <a:pt x="1062037" y="580844"/>
                        <a:pt x="1062037" y="581548"/>
                      </a:cubicBezTo>
                      <a:cubicBezTo>
                        <a:pt x="1059901" y="594211"/>
                        <a:pt x="1054204" y="620243"/>
                        <a:pt x="1034263" y="641349"/>
                      </a:cubicBezTo>
                      <a:cubicBezTo>
                        <a:pt x="1034263" y="641349"/>
                        <a:pt x="1034263" y="641349"/>
                        <a:pt x="985837" y="641349"/>
                      </a:cubicBezTo>
                      <a:cubicBezTo>
                        <a:pt x="987262" y="637831"/>
                        <a:pt x="990110" y="635721"/>
                        <a:pt x="992959" y="633610"/>
                      </a:cubicBezTo>
                      <a:cubicBezTo>
                        <a:pt x="1010762" y="625167"/>
                        <a:pt x="1020733" y="609689"/>
                        <a:pt x="1025718" y="596322"/>
                      </a:cubicBezTo>
                      <a:cubicBezTo>
                        <a:pt x="1025718" y="596322"/>
                        <a:pt x="1025718" y="596322"/>
                        <a:pt x="1062037" y="579437"/>
                      </a:cubicBezTo>
                      <a:close/>
                      <a:moveTo>
                        <a:pt x="381000" y="579437"/>
                      </a:moveTo>
                      <a:cubicBezTo>
                        <a:pt x="381000" y="579437"/>
                        <a:pt x="381000" y="579437"/>
                        <a:pt x="417320" y="596322"/>
                      </a:cubicBezTo>
                      <a:cubicBezTo>
                        <a:pt x="422305" y="609689"/>
                        <a:pt x="432275" y="625167"/>
                        <a:pt x="450079" y="633610"/>
                      </a:cubicBezTo>
                      <a:cubicBezTo>
                        <a:pt x="452927" y="635721"/>
                        <a:pt x="455776" y="637831"/>
                        <a:pt x="457200" y="641349"/>
                      </a:cubicBezTo>
                      <a:cubicBezTo>
                        <a:pt x="457200" y="641349"/>
                        <a:pt x="457200" y="641349"/>
                        <a:pt x="408774" y="641349"/>
                      </a:cubicBezTo>
                      <a:cubicBezTo>
                        <a:pt x="390258" y="621650"/>
                        <a:pt x="383849" y="597729"/>
                        <a:pt x="381000" y="582955"/>
                      </a:cubicBezTo>
                      <a:cubicBezTo>
                        <a:pt x="381000" y="582251"/>
                        <a:pt x="381000" y="580844"/>
                        <a:pt x="381000" y="579437"/>
                      </a:cubicBezTo>
                      <a:close/>
                      <a:moveTo>
                        <a:pt x="1355615" y="0"/>
                      </a:moveTo>
                      <a:cubicBezTo>
                        <a:pt x="1355615" y="0"/>
                        <a:pt x="1355615" y="0"/>
                        <a:pt x="1427273" y="0"/>
                      </a:cubicBezTo>
                      <a:cubicBezTo>
                        <a:pt x="1435872" y="0"/>
                        <a:pt x="1443038" y="6449"/>
                        <a:pt x="1443038" y="15765"/>
                      </a:cubicBezTo>
                      <a:cubicBezTo>
                        <a:pt x="1443038" y="15765"/>
                        <a:pt x="1443038" y="15765"/>
                        <a:pt x="1443038" y="87422"/>
                      </a:cubicBezTo>
                      <a:cubicBezTo>
                        <a:pt x="1443038" y="96021"/>
                        <a:pt x="1435872" y="103187"/>
                        <a:pt x="1427273" y="103187"/>
                      </a:cubicBezTo>
                      <a:cubicBezTo>
                        <a:pt x="1418674" y="103187"/>
                        <a:pt x="1411509" y="96021"/>
                        <a:pt x="1411509" y="87422"/>
                      </a:cubicBezTo>
                      <a:cubicBezTo>
                        <a:pt x="1411509" y="87422"/>
                        <a:pt x="1411509" y="87422"/>
                        <a:pt x="1411509" y="31529"/>
                      </a:cubicBezTo>
                      <a:cubicBezTo>
                        <a:pt x="1411509" y="31529"/>
                        <a:pt x="1411509" y="31529"/>
                        <a:pt x="1355615" y="31529"/>
                      </a:cubicBezTo>
                      <a:cubicBezTo>
                        <a:pt x="1347016" y="31529"/>
                        <a:pt x="1339850" y="24363"/>
                        <a:pt x="1339850" y="15765"/>
                      </a:cubicBezTo>
                      <a:cubicBezTo>
                        <a:pt x="1339850" y="6449"/>
                        <a:pt x="1347016" y="0"/>
                        <a:pt x="1355615" y="0"/>
                      </a:cubicBezTo>
                      <a:close/>
                      <a:moveTo>
                        <a:pt x="15765" y="0"/>
                      </a:moveTo>
                      <a:cubicBezTo>
                        <a:pt x="15765" y="0"/>
                        <a:pt x="15765" y="0"/>
                        <a:pt x="87423" y="0"/>
                      </a:cubicBezTo>
                      <a:cubicBezTo>
                        <a:pt x="96022" y="0"/>
                        <a:pt x="103188" y="6449"/>
                        <a:pt x="103188" y="15765"/>
                      </a:cubicBezTo>
                      <a:cubicBezTo>
                        <a:pt x="103188" y="24363"/>
                        <a:pt x="96022" y="31529"/>
                        <a:pt x="87423" y="31529"/>
                      </a:cubicBezTo>
                      <a:cubicBezTo>
                        <a:pt x="87423" y="31529"/>
                        <a:pt x="87423" y="31529"/>
                        <a:pt x="31529" y="31529"/>
                      </a:cubicBezTo>
                      <a:cubicBezTo>
                        <a:pt x="31529" y="31529"/>
                        <a:pt x="31529" y="31529"/>
                        <a:pt x="31529" y="87422"/>
                      </a:cubicBezTo>
                      <a:cubicBezTo>
                        <a:pt x="31529" y="96021"/>
                        <a:pt x="24364" y="103187"/>
                        <a:pt x="15765" y="103187"/>
                      </a:cubicBezTo>
                      <a:cubicBezTo>
                        <a:pt x="7166" y="103187"/>
                        <a:pt x="0" y="96021"/>
                        <a:pt x="0" y="87422"/>
                      </a:cubicBezTo>
                      <a:cubicBezTo>
                        <a:pt x="0" y="87422"/>
                        <a:pt x="0" y="87422"/>
                        <a:pt x="0" y="15765"/>
                      </a:cubicBezTo>
                      <a:cubicBezTo>
                        <a:pt x="0" y="6449"/>
                        <a:pt x="7166" y="0"/>
                        <a:pt x="157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7" name="Group 6">
            <a:extLst>
              <a:ext uri="{FF2B5EF4-FFF2-40B4-BE49-F238E27FC236}">
                <a16:creationId xmlns:a16="http://schemas.microsoft.com/office/drawing/2014/main" id="{212CA921-E695-4429-9D10-F2DDBD3FC939}"/>
              </a:ext>
            </a:extLst>
          </p:cNvPr>
          <p:cNvGrpSpPr/>
          <p:nvPr/>
        </p:nvGrpSpPr>
        <p:grpSpPr>
          <a:xfrm>
            <a:off x="-1" y="3743566"/>
            <a:ext cx="3361060" cy="738663"/>
            <a:chOff x="-1" y="3595785"/>
            <a:chExt cx="3361060" cy="738663"/>
          </a:xfrm>
        </p:grpSpPr>
        <p:sp>
          <p:nvSpPr>
            <p:cNvPr id="60" name="Rectangle: Top Corners Rounded 59">
              <a:extLst>
                <a:ext uri="{FF2B5EF4-FFF2-40B4-BE49-F238E27FC236}">
                  <a16:creationId xmlns:a16="http://schemas.microsoft.com/office/drawing/2014/main" id="{DC221BE5-15BE-4FAF-AC00-CAD3213B5151}"/>
                </a:ext>
              </a:extLst>
            </p:cNvPr>
            <p:cNvSpPr/>
            <p:nvPr/>
          </p:nvSpPr>
          <p:spPr>
            <a:xfrm rot="5400000">
              <a:off x="1311197" y="2284587"/>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64" name="ee4pHeader1">
              <a:extLst>
                <a:ext uri="{FF2B5EF4-FFF2-40B4-BE49-F238E27FC236}">
                  <a16:creationId xmlns:a16="http://schemas.microsoft.com/office/drawing/2014/main" id="{0A042399-D447-4A66-8C64-1A2E4C080950}"/>
                </a:ext>
              </a:extLst>
            </p:cNvPr>
            <p:cNvSpPr txBox="1"/>
            <p:nvPr/>
          </p:nvSpPr>
          <p:spPr>
            <a:xfrm>
              <a:off x="288478" y="3688118"/>
              <a:ext cx="2923073" cy="553998"/>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latin typeface="+mj-lt"/>
                  <a:cs typeface="Calibri" panose="020F0502020204030204" pitchFamily="34" charset="0"/>
                </a:rPr>
                <a:t>Examples of groups included</a:t>
              </a:r>
            </a:p>
          </p:txBody>
        </p:sp>
        <p:grpSp>
          <p:nvGrpSpPr>
            <p:cNvPr id="75" name="Group 74">
              <a:extLst>
                <a:ext uri="{FF2B5EF4-FFF2-40B4-BE49-F238E27FC236}">
                  <a16:creationId xmlns:a16="http://schemas.microsoft.com/office/drawing/2014/main" id="{02C79647-B808-481A-BFD0-3E8A939C36A4}"/>
                </a:ext>
              </a:extLst>
            </p:cNvPr>
            <p:cNvGrpSpPr>
              <a:grpSpLocks noChangeAspect="1"/>
            </p:cNvGrpSpPr>
            <p:nvPr/>
          </p:nvGrpSpPr>
          <p:grpSpPr>
            <a:xfrm>
              <a:off x="318694" y="3741930"/>
              <a:ext cx="446374" cy="446374"/>
              <a:chOff x="5273803" y="2606803"/>
              <a:chExt cx="1645920" cy="1645920"/>
            </a:xfrm>
          </p:grpSpPr>
          <p:sp>
            <p:nvSpPr>
              <p:cNvPr id="76" name="AutoShape 23">
                <a:extLst>
                  <a:ext uri="{FF2B5EF4-FFF2-40B4-BE49-F238E27FC236}">
                    <a16:creationId xmlns:a16="http://schemas.microsoft.com/office/drawing/2014/main" id="{8B9187F6-3358-4C90-BFB4-A9C5135ECD1C}"/>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7" name="Group 76">
                <a:extLst>
                  <a:ext uri="{FF2B5EF4-FFF2-40B4-BE49-F238E27FC236}">
                    <a16:creationId xmlns:a16="http://schemas.microsoft.com/office/drawing/2014/main" id="{BED54913-EF40-4833-9261-FC34ED25BFBA}"/>
                  </a:ext>
                </a:extLst>
              </p:cNvPr>
              <p:cNvGrpSpPr/>
              <p:nvPr/>
            </p:nvGrpSpPr>
            <p:grpSpPr>
              <a:xfrm>
                <a:off x="5484691" y="2758822"/>
                <a:ext cx="1224143" cy="1341882"/>
                <a:chOff x="5355525" y="2801969"/>
                <a:chExt cx="1522662" cy="1670659"/>
              </a:xfrm>
            </p:grpSpPr>
            <p:sp>
              <p:nvSpPr>
                <p:cNvPr id="78" name="Freeform 25">
                  <a:extLst>
                    <a:ext uri="{FF2B5EF4-FFF2-40B4-BE49-F238E27FC236}">
                      <a16:creationId xmlns:a16="http://schemas.microsoft.com/office/drawing/2014/main" id="{E4603FA0-1AA7-496D-9611-DDA6906C12B4}"/>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6">
                  <a:extLst>
                    <a:ext uri="{FF2B5EF4-FFF2-40B4-BE49-F238E27FC236}">
                      <a16:creationId xmlns:a16="http://schemas.microsoft.com/office/drawing/2014/main" id="{57F67B61-EDBC-4656-8B0F-02AAB30CFDA9}"/>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80" name="Group 79">
            <a:extLst>
              <a:ext uri="{FF2B5EF4-FFF2-40B4-BE49-F238E27FC236}">
                <a16:creationId xmlns:a16="http://schemas.microsoft.com/office/drawing/2014/main" id="{660C4300-022D-43DD-B48F-F0D568173134}"/>
              </a:ext>
            </a:extLst>
          </p:cNvPr>
          <p:cNvGrpSpPr>
            <a:grpSpLocks noChangeAspect="1"/>
          </p:cNvGrpSpPr>
          <p:nvPr/>
        </p:nvGrpSpPr>
        <p:grpSpPr>
          <a:xfrm>
            <a:off x="318702" y="1591592"/>
            <a:ext cx="446806" cy="446374"/>
            <a:chOff x="5273675" y="2606675"/>
            <a:chExt cx="1646238" cy="1644650"/>
          </a:xfrm>
        </p:grpSpPr>
        <p:sp>
          <p:nvSpPr>
            <p:cNvPr id="81" name="AutoShape 3">
              <a:extLst>
                <a:ext uri="{FF2B5EF4-FFF2-40B4-BE49-F238E27FC236}">
                  <a16:creationId xmlns:a16="http://schemas.microsoft.com/office/drawing/2014/main" id="{343A587F-E446-4F42-AFDF-BE45BB98E26C}"/>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2" name="Group 81">
              <a:extLst>
                <a:ext uri="{FF2B5EF4-FFF2-40B4-BE49-F238E27FC236}">
                  <a16:creationId xmlns:a16="http://schemas.microsoft.com/office/drawing/2014/main" id="{4064CA36-F712-46CB-8955-0FBF20A05E57}"/>
                </a:ext>
              </a:extLst>
            </p:cNvPr>
            <p:cNvGrpSpPr/>
            <p:nvPr/>
          </p:nvGrpSpPr>
          <p:grpSpPr>
            <a:xfrm>
              <a:off x="5651500" y="2971800"/>
              <a:ext cx="892175" cy="1109663"/>
              <a:chOff x="5651500" y="2971800"/>
              <a:chExt cx="892175" cy="1109663"/>
            </a:xfrm>
          </p:grpSpPr>
          <p:sp>
            <p:nvSpPr>
              <p:cNvPr id="83" name="Freeform 20">
                <a:extLst>
                  <a:ext uri="{FF2B5EF4-FFF2-40B4-BE49-F238E27FC236}">
                    <a16:creationId xmlns:a16="http://schemas.microsoft.com/office/drawing/2014/main" id="{18ACDC06-9062-4702-BD36-1CE76C67902E}"/>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84" name="Freeform 21">
                <a:extLst>
                  <a:ext uri="{FF2B5EF4-FFF2-40B4-BE49-F238E27FC236}">
                    <a16:creationId xmlns:a16="http://schemas.microsoft.com/office/drawing/2014/main" id="{C3F0E903-E662-44BF-A9E7-EADAE22901AE}"/>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cxnSp>
        <p:nvCxnSpPr>
          <p:cNvPr id="86" name="Straight Connector 85">
            <a:extLst>
              <a:ext uri="{FF2B5EF4-FFF2-40B4-BE49-F238E27FC236}">
                <a16:creationId xmlns:a16="http://schemas.microsoft.com/office/drawing/2014/main" id="{23764E05-DD9B-4598-B90B-FE972D792030}"/>
              </a:ext>
            </a:extLst>
          </p:cNvPr>
          <p:cNvCxnSpPr/>
          <p:nvPr/>
        </p:nvCxnSpPr>
        <p:spPr>
          <a:xfrm>
            <a:off x="3468028" y="3530673"/>
            <a:ext cx="8435494"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8EB23A2-6F3D-48BA-AD7C-4151EFA02F28}"/>
              </a:ext>
            </a:extLst>
          </p:cNvPr>
          <p:cNvCxnSpPr/>
          <p:nvPr/>
        </p:nvCxnSpPr>
        <p:spPr>
          <a:xfrm>
            <a:off x="3468028" y="2243115"/>
            <a:ext cx="8435494"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110" name="ee4pFootnotes">
            <a:extLst>
              <a:ext uri="{FF2B5EF4-FFF2-40B4-BE49-F238E27FC236}">
                <a16:creationId xmlns:a16="http://schemas.microsoft.com/office/drawing/2014/main" id="{F1EEA3A7-2754-4DA3-A586-8A11F41AD623}"/>
              </a:ext>
            </a:extLst>
          </p:cNvPr>
          <p:cNvSpPr>
            <a:spLocks noChangeArrowheads="1"/>
          </p:cNvSpPr>
          <p:nvPr/>
        </p:nvSpPr>
        <p:spPr bwMode="auto">
          <a:xfrm>
            <a:off x="288478" y="6580031"/>
            <a:ext cx="11615045"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Sources: DHS </a:t>
            </a:r>
            <a:r>
              <a:rPr lang="en-US" sz="1000" dirty="0" err="1">
                <a:solidFill>
                  <a:srgbClr val="000000"/>
                </a:solidFill>
                <a:latin typeface="Calibri" panose="020F0502020204030204" pitchFamily="34" charset="0"/>
                <a:sym typeface="+mn-lt"/>
              </a:rPr>
              <a:t>CISA</a:t>
            </a:r>
            <a:r>
              <a:rPr lang="en-US" sz="1000" dirty="0">
                <a:solidFill>
                  <a:srgbClr val="000000"/>
                </a:solidFill>
                <a:latin typeface="Calibri" panose="020F0502020204030204" pitchFamily="34" charset="0"/>
                <a:sym typeface="+mn-lt"/>
              </a:rPr>
              <a:t>; The Advisory Committee on Immunization Practices’ Updated Interim Recommendation for Allocation of COVID-19 Vaccine,United States, December 2020</a:t>
            </a:r>
          </a:p>
        </p:txBody>
      </p:sp>
    </p:spTree>
    <p:extLst>
      <p:ext uri="{BB962C8B-B14F-4D97-AF65-F5344CB8AC3E}">
        <p14:creationId xmlns:p14="http://schemas.microsoft.com/office/powerpoint/2010/main" val="408920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01C74C-AE5C-42D9-83A5-8116109103C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721619"/>
            <a:ext cx="11615045" cy="332399"/>
          </a:xfrm>
          <a:prstGeom prst="rect">
            <a:avLst/>
          </a:prstGeom>
        </p:spPr>
        <p:txBody>
          <a:bodyPr>
            <a:spAutoFit/>
          </a:bodyPr>
          <a:lstStyle/>
          <a:p>
            <a:r>
              <a:rPr lang="en-US" dirty="0">
                <a:solidFill>
                  <a:schemeClr val="accent6"/>
                </a:solidFill>
              </a:rPr>
              <a:t>Phase 2 | </a:t>
            </a:r>
            <a:r>
              <a:rPr lang="en-US" dirty="0"/>
              <a:t>High-contact critical</a:t>
            </a:r>
            <a:r>
              <a:rPr lang="en-US" baseline="30000" dirty="0"/>
              <a:t>1</a:t>
            </a:r>
            <a:r>
              <a:rPr lang="en-US" dirty="0"/>
              <a:t> workers: identifying characteristics and working definition </a:t>
            </a:r>
          </a:p>
        </p:txBody>
      </p:sp>
      <p:sp>
        <p:nvSpPr>
          <p:cNvPr id="24" name="ee4pHeader1">
            <a:extLst>
              <a:ext uri="{FF2B5EF4-FFF2-40B4-BE49-F238E27FC236}">
                <a16:creationId xmlns:a16="http://schemas.microsoft.com/office/drawing/2014/main" id="{5BD9B3A2-A7C5-43DA-B99F-C233B960B821}"/>
              </a:ext>
            </a:extLst>
          </p:cNvPr>
          <p:cNvSpPr txBox="1"/>
          <p:nvPr/>
        </p:nvSpPr>
        <p:spPr>
          <a:xfrm>
            <a:off x="3433825" y="2320347"/>
            <a:ext cx="8452596" cy="1246495"/>
          </a:xfrm>
          <a:prstGeom prst="rect">
            <a:avLst/>
          </a:prstGeom>
          <a:noFill/>
          <a:ln cap="rnd">
            <a:noFill/>
          </a:ln>
        </p:spPr>
        <p:txBody>
          <a:bodyPr vert="horz" wrap="square" lIns="0" tIns="0" rIns="0" bIns="0" rtlCol="0" anchor="t" anchorCtr="0">
            <a:spAutoFit/>
          </a:bodyPr>
          <a:lstStyle/>
          <a:p>
            <a:pPr marL="432000" lvl="1" indent="-288000">
              <a:buClr>
                <a:srgbClr val="051934"/>
              </a:buClr>
              <a:buSzPct val="100000"/>
              <a:buFont typeface="Trebuchet MS" panose="020B0603020202020204" pitchFamily="34" charset="0"/>
              <a:buChar char="•"/>
            </a:pPr>
            <a:r>
              <a:rPr lang="en-US" sz="1350" dirty="0">
                <a:latin typeface="Calibri" panose="020F0502020204030204" pitchFamily="34" charset="0"/>
                <a:cs typeface="Calibri" panose="020F0502020204030204" pitchFamily="34" charset="0"/>
              </a:rPr>
              <a:t>Critical workers are those necessary to maintain systems, assets and activities that are vital to the state (or national) security, the economy, or public health, </a:t>
            </a:r>
            <a:r>
              <a:rPr lang="en-US" sz="1350" dirty="0">
                <a:solidFill>
                  <a:srgbClr val="000000"/>
                </a:solidFill>
                <a:latin typeface="Calibri" panose="020F0502020204030204" pitchFamily="34" charset="0"/>
                <a:cs typeface="Calibri" panose="020F0502020204030204" pitchFamily="34" charset="0"/>
              </a:rPr>
              <a:t>as defined by the </a:t>
            </a:r>
            <a:r>
              <a:rPr lang="en-US" sz="1350" dirty="0">
                <a:solidFill>
                  <a:srgbClr val="000000"/>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xmlns="" val="tx"/>
                    </a:ext>
                  </a:extLst>
                </a:hlinkClick>
              </a:rPr>
              <a:t>Department of Homeland Security </a:t>
            </a:r>
            <a:endParaRPr lang="en-US" sz="1350" b="1" dirty="0">
              <a:solidFill>
                <a:srgbClr val="000000"/>
              </a:solidFill>
              <a:latin typeface="Calibri" panose="020F0502020204030204" pitchFamily="34" charset="0"/>
              <a:cs typeface="Calibri" panose="020F0502020204030204" pitchFamily="34" charset="0"/>
            </a:endParaRPr>
          </a:p>
          <a:p>
            <a:pPr marL="432000" lvl="1" indent="-288000">
              <a:buClr>
                <a:srgbClr val="051934"/>
              </a:buClr>
              <a:buSzPct val="100000"/>
              <a:buFont typeface="Trebuchet MS" panose="020B0603020202020204" pitchFamily="34" charset="0"/>
              <a:buChar char="•"/>
            </a:pPr>
            <a:r>
              <a:rPr lang="en-US" sz="1350" dirty="0">
                <a:latin typeface="Calibri" panose="020F0502020204030204" pitchFamily="34" charset="0"/>
                <a:cs typeface="Calibri" panose="020F0502020204030204" pitchFamily="34" charset="0"/>
              </a:rPr>
              <a:t>Risk is associated with the likelihood of infecting oneself or spreading </a:t>
            </a:r>
            <a:r>
              <a:rPr lang="en-US" sz="1350" dirty="0" err="1">
                <a:latin typeface="Calibri" panose="020F0502020204030204" pitchFamily="34" charset="0"/>
                <a:cs typeface="Calibri" panose="020F0502020204030204" pitchFamily="34" charset="0"/>
              </a:rPr>
              <a:t>COVID</a:t>
            </a:r>
            <a:r>
              <a:rPr lang="en-US" sz="1350" dirty="0">
                <a:latin typeface="Calibri" panose="020F0502020204030204" pitchFamily="34" charset="0"/>
                <a:cs typeface="Calibri" panose="020F0502020204030204" pitchFamily="34" charset="0"/>
              </a:rPr>
              <a:t>. Factors that increase risk include proximity, type of contact, duration of contacts and challenges to implement protective measures</a:t>
            </a:r>
            <a:endParaRPr lang="en-US" sz="1350" dirty="0">
              <a:solidFill>
                <a:srgbClr val="000000"/>
              </a:solidFill>
              <a:latin typeface="Calibri" panose="020F0502020204030204" pitchFamily="34" charset="0"/>
              <a:cs typeface="Calibri" panose="020F0502020204030204" pitchFamily="34" charset="0"/>
            </a:endParaRPr>
          </a:p>
          <a:p>
            <a:pPr marL="432000" lvl="1" indent="-288000">
              <a:buClr>
                <a:srgbClr val="051934"/>
              </a:buClr>
              <a:buSzPct val="100000"/>
              <a:buFont typeface="Trebuchet MS" panose="020B0603020202020204" pitchFamily="34" charset="0"/>
              <a:buChar char="•"/>
            </a:pPr>
            <a:r>
              <a:rPr lang="en-US" sz="1350" dirty="0">
                <a:latin typeface="Calibri" panose="020F0502020204030204" pitchFamily="34" charset="0"/>
                <a:cs typeface="Calibri" panose="020F0502020204030204" pitchFamily="34" charset="0"/>
              </a:rPr>
              <a:t>Settings that provide a critical service and have </a:t>
            </a:r>
            <a:r>
              <a:rPr lang="en-US" sz="1350" dirty="0">
                <a:solidFill>
                  <a:srgbClr val="000000"/>
                </a:solidFill>
                <a:latin typeface="Calibri" panose="020F0502020204030204" pitchFamily="34" charset="0"/>
                <a:cs typeface="Calibri" panose="020F0502020204030204" pitchFamily="34" charset="0"/>
              </a:rPr>
              <a:t>recorded high transmission rates or become clusters in the past are usually high risk;</a:t>
            </a:r>
          </a:p>
        </p:txBody>
      </p:sp>
      <p:sp>
        <p:nvSpPr>
          <p:cNvPr id="30" name="ee4pHeader1">
            <a:extLst>
              <a:ext uri="{FF2B5EF4-FFF2-40B4-BE49-F238E27FC236}">
                <a16:creationId xmlns:a16="http://schemas.microsoft.com/office/drawing/2014/main" id="{C9651F75-6C28-408C-8243-984F30A3049C}"/>
              </a:ext>
            </a:extLst>
          </p:cNvPr>
          <p:cNvSpPr txBox="1"/>
          <p:nvPr/>
        </p:nvSpPr>
        <p:spPr>
          <a:xfrm>
            <a:off x="3433825" y="1599336"/>
            <a:ext cx="8452596" cy="430887"/>
          </a:xfrm>
          <a:prstGeom prst="rect">
            <a:avLst/>
          </a:prstGeom>
          <a:noFill/>
          <a:ln cap="rnd">
            <a:noFill/>
          </a:ln>
        </p:spPr>
        <p:txBody>
          <a:bodyPr vert="horz" wrap="square" lIns="0" tIns="0" rIns="0" bIns="0" rtlCol="0" anchor="ctr" anchorCtr="0">
            <a:spAutoFit/>
          </a:bodyPr>
          <a:lstStyle/>
          <a:p>
            <a:pPr>
              <a:buSzPct val="100000"/>
              <a:buFont typeface="Trebuchet MS" panose="020B0603020202020204" pitchFamily="34" charset="0"/>
              <a:buChar char="​"/>
            </a:pPr>
            <a:r>
              <a:rPr lang="en-US" sz="1350" dirty="0">
                <a:latin typeface="Calibri" panose="020F0502020204030204" pitchFamily="34" charset="0"/>
                <a:cs typeface="Calibri" panose="020F0502020204030204" pitchFamily="34" charset="0"/>
              </a:rPr>
              <a:t>Workers providing critical services who are at a higher risk of being infected, because their jobs require consistent and close contact with a large number of individuals</a:t>
            </a:r>
          </a:p>
        </p:txBody>
      </p:sp>
      <p:sp>
        <p:nvSpPr>
          <p:cNvPr id="43" name="TextBox 42">
            <a:extLst>
              <a:ext uri="{FF2B5EF4-FFF2-40B4-BE49-F238E27FC236}">
                <a16:creationId xmlns:a16="http://schemas.microsoft.com/office/drawing/2014/main" id="{7A252306-3D77-40FD-9AB8-1540045624C6}"/>
              </a:ext>
            </a:extLst>
          </p:cNvPr>
          <p:cNvSpPr txBox="1"/>
          <p:nvPr/>
        </p:nvSpPr>
        <p:spPr>
          <a:xfrm>
            <a:off x="3433825" y="3856967"/>
            <a:ext cx="8452596" cy="24929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Firefighters, police officers, first responders, correction officers</a:t>
            </a:r>
          </a:p>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Grocery store workers and food services</a:t>
            </a:r>
          </a:p>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K-12 and childcare workers, including teachers, custodians, drivers and other staff</a:t>
            </a:r>
          </a:p>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Food processing, including meat processing plants</a:t>
            </a:r>
          </a:p>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Large-scale aviation manufacturing plants</a:t>
            </a:r>
          </a:p>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Transportation workers</a:t>
            </a:r>
          </a:p>
          <a:p>
            <a:pPr marL="432000" lvl="1" indent="-288000">
              <a:buClr>
                <a:srgbClr val="051934">
                  <a:lumMod val="100000"/>
                </a:srgbClr>
              </a:buClr>
              <a:buSzPct val="100000"/>
              <a:buFont typeface="Trebuchet MS" panose="020B0603020202020204" pitchFamily="34" charset="0"/>
              <a:buChar char="•"/>
            </a:pPr>
            <a:r>
              <a:rPr lang="en-US" sz="1350" dirty="0">
                <a:solidFill>
                  <a:srgbClr val="000000">
                    <a:lumMod val="100000"/>
                  </a:srgbClr>
                </a:solidFill>
                <a:latin typeface="Calibri" panose="020F0502020204030204" pitchFamily="34" charset="0"/>
              </a:rPr>
              <a:t>Workers in the following industries, if they regularly need to be in high-risk settings to perform their duties:</a:t>
            </a:r>
          </a:p>
          <a:p>
            <a:pPr marL="756000" lvl="2" indent="-252000">
              <a:buClr>
                <a:srgbClr val="051934">
                  <a:lumMod val="100000"/>
                </a:srgbClr>
              </a:buClr>
              <a:buSzPct val="100000"/>
              <a:buFont typeface="Trebuchet MS" panose="020B0603020202020204" pitchFamily="34" charset="0"/>
              <a:buChar char="–"/>
            </a:pPr>
            <a:r>
              <a:rPr lang="en-US" sz="1350" dirty="0">
                <a:solidFill>
                  <a:srgbClr val="051934"/>
                </a:solidFill>
                <a:latin typeface="Calibri" panose="020F0502020204030204" pitchFamily="34" charset="0"/>
              </a:rPr>
              <a:t>Retail, warehouses and sales outlets</a:t>
            </a:r>
          </a:p>
          <a:p>
            <a:pPr marL="756000" lvl="2" indent="-252000">
              <a:buClr>
                <a:srgbClr val="051934">
                  <a:lumMod val="100000"/>
                </a:srgbClr>
              </a:buClr>
              <a:buSzPct val="100000"/>
              <a:buFont typeface="Trebuchet MS" panose="020B0603020202020204" pitchFamily="34" charset="0"/>
              <a:buChar char="–"/>
            </a:pPr>
            <a:r>
              <a:rPr lang="en-US" sz="1350" dirty="0">
                <a:solidFill>
                  <a:srgbClr val="051934"/>
                </a:solidFill>
                <a:latin typeface="Calibri" panose="020F0502020204030204" pitchFamily="34" charset="0"/>
              </a:rPr>
              <a:t>Agriculture</a:t>
            </a:r>
          </a:p>
          <a:p>
            <a:pPr marL="756000" lvl="2" indent="-252000">
              <a:buClr>
                <a:srgbClr val="051934">
                  <a:lumMod val="100000"/>
                </a:srgbClr>
              </a:buClr>
              <a:buSzPct val="100000"/>
              <a:buFont typeface="Trebuchet MS" panose="020B0603020202020204" pitchFamily="34" charset="0"/>
              <a:buChar char="–"/>
            </a:pPr>
            <a:r>
              <a:rPr lang="en-US" sz="1350" dirty="0">
                <a:solidFill>
                  <a:srgbClr val="051934"/>
                </a:solidFill>
                <a:latin typeface="Calibri" panose="020F0502020204030204" pitchFamily="34" charset="0"/>
              </a:rPr>
              <a:t>Supply of critical services or materials for the </a:t>
            </a:r>
            <a:r>
              <a:rPr lang="en-US" sz="1350" dirty="0" err="1">
                <a:solidFill>
                  <a:srgbClr val="051934"/>
                </a:solidFill>
                <a:latin typeface="Calibri" panose="020F0502020204030204" pitchFamily="34" charset="0"/>
              </a:rPr>
              <a:t>COVID</a:t>
            </a:r>
            <a:r>
              <a:rPr lang="en-US" sz="1350" dirty="0">
                <a:solidFill>
                  <a:srgbClr val="051934"/>
                </a:solidFill>
                <a:latin typeface="Calibri" panose="020F0502020204030204" pitchFamily="34" charset="0"/>
              </a:rPr>
              <a:t> response (e.g. PPE)</a:t>
            </a:r>
          </a:p>
          <a:p>
            <a:pPr marL="756000" lvl="2" indent="-252000">
              <a:buClr>
                <a:srgbClr val="051934">
                  <a:lumMod val="100000"/>
                </a:srgbClr>
              </a:buClr>
              <a:buSzPct val="100000"/>
              <a:buFont typeface="Trebuchet MS" panose="020B0603020202020204" pitchFamily="34" charset="0"/>
              <a:buChar char="–"/>
            </a:pPr>
            <a:r>
              <a:rPr lang="en-US" sz="1350" dirty="0">
                <a:solidFill>
                  <a:srgbClr val="051934"/>
                </a:solidFill>
                <a:latin typeface="Calibri" panose="020F0502020204030204" pitchFamily="34" charset="0"/>
              </a:rPr>
              <a:t>The U.S. Postal Service</a:t>
            </a:r>
          </a:p>
          <a:p>
            <a:pPr marL="756000" lvl="2" indent="-252000">
              <a:buClr>
                <a:srgbClr val="051934">
                  <a:lumMod val="100000"/>
                </a:srgbClr>
              </a:buClr>
              <a:buSzPct val="100000"/>
              <a:buFont typeface="Trebuchet MS" panose="020B0603020202020204" pitchFamily="34" charset="0"/>
              <a:buChar char="–"/>
            </a:pPr>
            <a:r>
              <a:rPr lang="en-US" sz="1350" dirty="0">
                <a:solidFill>
                  <a:srgbClr val="051934"/>
                </a:solidFill>
                <a:latin typeface="Calibri" panose="020F0502020204030204" pitchFamily="34" charset="0"/>
              </a:rPr>
              <a:t>Department of Motor Vehicles</a:t>
            </a:r>
          </a:p>
        </p:txBody>
      </p:sp>
      <p:grpSp>
        <p:nvGrpSpPr>
          <p:cNvPr id="5" name="Group 4">
            <a:extLst>
              <a:ext uri="{FF2B5EF4-FFF2-40B4-BE49-F238E27FC236}">
                <a16:creationId xmlns:a16="http://schemas.microsoft.com/office/drawing/2014/main" id="{152D7E76-63EE-4477-A148-E8FF399581A8}"/>
              </a:ext>
            </a:extLst>
          </p:cNvPr>
          <p:cNvGrpSpPr/>
          <p:nvPr/>
        </p:nvGrpSpPr>
        <p:grpSpPr>
          <a:xfrm>
            <a:off x="-1" y="2574263"/>
            <a:ext cx="3361060" cy="738663"/>
            <a:chOff x="-1" y="2404883"/>
            <a:chExt cx="3361060" cy="738663"/>
          </a:xfrm>
        </p:grpSpPr>
        <p:sp>
          <p:nvSpPr>
            <p:cNvPr id="84" name="Rectangle: Top Corners Rounded 83">
              <a:extLst>
                <a:ext uri="{FF2B5EF4-FFF2-40B4-BE49-F238E27FC236}">
                  <a16:creationId xmlns:a16="http://schemas.microsoft.com/office/drawing/2014/main" id="{98E369D1-4E53-4567-9E30-386D2BB9BB5E}"/>
                </a:ext>
              </a:extLst>
            </p:cNvPr>
            <p:cNvSpPr/>
            <p:nvPr/>
          </p:nvSpPr>
          <p:spPr>
            <a:xfrm rot="5400000">
              <a:off x="1311197" y="1093685"/>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7" name="ee4pHeader1">
              <a:extLst>
                <a:ext uri="{FF2B5EF4-FFF2-40B4-BE49-F238E27FC236}">
                  <a16:creationId xmlns:a16="http://schemas.microsoft.com/office/drawing/2014/main" id="{B85A3351-F11F-45D3-8558-68300E4A381A}"/>
                </a:ext>
              </a:extLst>
            </p:cNvPr>
            <p:cNvSpPr txBox="1"/>
            <p:nvPr/>
          </p:nvSpPr>
          <p:spPr>
            <a:xfrm>
              <a:off x="288478" y="2635715"/>
              <a:ext cx="2923073" cy="276999"/>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Description</a:t>
              </a:r>
              <a:endParaRPr lang="en-US" dirty="0">
                <a:solidFill>
                  <a:srgbClr val="FFFFFF"/>
                </a:solidFill>
                <a:latin typeface="+mj-lt"/>
                <a:cs typeface="Calibri" panose="020F0502020204030204" pitchFamily="34" charset="0"/>
              </a:endParaRPr>
            </a:p>
          </p:txBody>
        </p:sp>
        <p:grpSp>
          <p:nvGrpSpPr>
            <p:cNvPr id="96" name="Group 95">
              <a:extLst>
                <a:ext uri="{FF2B5EF4-FFF2-40B4-BE49-F238E27FC236}">
                  <a16:creationId xmlns:a16="http://schemas.microsoft.com/office/drawing/2014/main" id="{F6EB4A6C-5A14-44BF-B9BE-B9E03D27BD52}"/>
                </a:ext>
              </a:extLst>
            </p:cNvPr>
            <p:cNvGrpSpPr>
              <a:grpSpLocks noChangeAspect="1"/>
            </p:cNvGrpSpPr>
            <p:nvPr/>
          </p:nvGrpSpPr>
          <p:grpSpPr>
            <a:xfrm>
              <a:off x="318602" y="2551028"/>
              <a:ext cx="445944" cy="446374"/>
              <a:chOff x="5273675" y="2605088"/>
              <a:chExt cx="1644650" cy="1646237"/>
            </a:xfrm>
          </p:grpSpPr>
          <p:sp>
            <p:nvSpPr>
              <p:cNvPr id="97" name="AutoShape 13">
                <a:extLst>
                  <a:ext uri="{FF2B5EF4-FFF2-40B4-BE49-F238E27FC236}">
                    <a16:creationId xmlns:a16="http://schemas.microsoft.com/office/drawing/2014/main" id="{42F5C32A-ADA5-4D73-9F08-AF51C53FBB79}"/>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8" name="Group 97">
                <a:extLst>
                  <a:ext uri="{FF2B5EF4-FFF2-40B4-BE49-F238E27FC236}">
                    <a16:creationId xmlns:a16="http://schemas.microsoft.com/office/drawing/2014/main" id="{3678A4DD-B9F7-4CB1-9C48-0819071F1F94}"/>
                  </a:ext>
                </a:extLst>
              </p:cNvPr>
              <p:cNvGrpSpPr/>
              <p:nvPr/>
            </p:nvGrpSpPr>
            <p:grpSpPr>
              <a:xfrm>
                <a:off x="5374481" y="2739232"/>
                <a:ext cx="1443038" cy="1377949"/>
                <a:chOff x="5373687" y="2738438"/>
                <a:chExt cx="1443038" cy="1377949"/>
              </a:xfrm>
            </p:grpSpPr>
            <p:sp>
              <p:nvSpPr>
                <p:cNvPr id="99" name="Freeform 15">
                  <a:extLst>
                    <a:ext uri="{FF2B5EF4-FFF2-40B4-BE49-F238E27FC236}">
                      <a16:creationId xmlns:a16="http://schemas.microsoft.com/office/drawing/2014/main" id="{DFCDDE39-30A5-4E39-8942-B1FF23F0AF8E}"/>
                    </a:ext>
                  </a:extLst>
                </p:cNvPr>
                <p:cNvSpPr>
                  <a:spLocks noEditPoints="1"/>
                </p:cNvSpPr>
                <p:nvPr/>
              </p:nvSpPr>
              <p:spPr bwMode="auto">
                <a:xfrm>
                  <a:off x="5737225" y="2797175"/>
                  <a:ext cx="701675" cy="582612"/>
                </a:xfrm>
                <a:custGeom>
                  <a:avLst/>
                  <a:gdLst>
                    <a:gd name="T0" fmla="*/ 958 w 983"/>
                    <a:gd name="T1" fmla="*/ 576 h 816"/>
                    <a:gd name="T2" fmla="*/ 960 w 983"/>
                    <a:gd name="T3" fmla="*/ 487 h 816"/>
                    <a:gd name="T4" fmla="*/ 139 w 983"/>
                    <a:gd name="T5" fmla="*/ 142 h 816"/>
                    <a:gd name="T6" fmla="*/ 31 w 983"/>
                    <a:gd name="T7" fmla="*/ 692 h 816"/>
                    <a:gd name="T8" fmla="*/ 48 w 983"/>
                    <a:gd name="T9" fmla="*/ 700 h 816"/>
                    <a:gd name="T10" fmla="*/ 62 w 983"/>
                    <a:gd name="T11" fmla="*/ 695 h 816"/>
                    <a:gd name="T12" fmla="*/ 65 w 983"/>
                    <a:gd name="T13" fmla="*/ 664 h 816"/>
                    <a:gd name="T14" fmla="*/ 87 w 983"/>
                    <a:gd name="T15" fmla="*/ 291 h 816"/>
                    <a:gd name="T16" fmla="*/ 212 w 983"/>
                    <a:gd name="T17" fmla="*/ 414 h 816"/>
                    <a:gd name="T18" fmla="*/ 155 w 983"/>
                    <a:gd name="T19" fmla="*/ 455 h 816"/>
                    <a:gd name="T20" fmla="*/ 242 w 983"/>
                    <a:gd name="T21" fmla="*/ 455 h 816"/>
                    <a:gd name="T22" fmla="*/ 330 w 983"/>
                    <a:gd name="T23" fmla="*/ 364 h 816"/>
                    <a:gd name="T24" fmla="*/ 353 w 983"/>
                    <a:gd name="T25" fmla="*/ 365 h 816"/>
                    <a:gd name="T26" fmla="*/ 408 w 983"/>
                    <a:gd name="T27" fmla="*/ 467 h 816"/>
                    <a:gd name="T28" fmla="*/ 376 w 983"/>
                    <a:gd name="T29" fmla="*/ 659 h 816"/>
                    <a:gd name="T30" fmla="*/ 349 w 983"/>
                    <a:gd name="T31" fmla="*/ 679 h 816"/>
                    <a:gd name="T32" fmla="*/ 170 w 983"/>
                    <a:gd name="T33" fmla="*/ 675 h 816"/>
                    <a:gd name="T34" fmla="*/ 122 w 983"/>
                    <a:gd name="T35" fmla="*/ 676 h 816"/>
                    <a:gd name="T36" fmla="*/ 104 w 983"/>
                    <a:gd name="T37" fmla="*/ 712 h 816"/>
                    <a:gd name="T38" fmla="*/ 147 w 983"/>
                    <a:gd name="T39" fmla="*/ 755 h 816"/>
                    <a:gd name="T40" fmla="*/ 348 w 983"/>
                    <a:gd name="T41" fmla="*/ 723 h 816"/>
                    <a:gd name="T42" fmla="*/ 417 w 983"/>
                    <a:gd name="T43" fmla="*/ 816 h 816"/>
                    <a:gd name="T44" fmla="*/ 420 w 983"/>
                    <a:gd name="T45" fmla="*/ 729 h 816"/>
                    <a:gd name="T46" fmla="*/ 474 w 983"/>
                    <a:gd name="T47" fmla="*/ 740 h 816"/>
                    <a:gd name="T48" fmla="*/ 558 w 983"/>
                    <a:gd name="T49" fmla="*/ 739 h 816"/>
                    <a:gd name="T50" fmla="*/ 617 w 983"/>
                    <a:gd name="T51" fmla="*/ 735 h 816"/>
                    <a:gd name="T52" fmla="*/ 626 w 983"/>
                    <a:gd name="T53" fmla="*/ 816 h 816"/>
                    <a:gd name="T54" fmla="*/ 682 w 983"/>
                    <a:gd name="T55" fmla="*/ 725 h 816"/>
                    <a:gd name="T56" fmla="*/ 852 w 983"/>
                    <a:gd name="T57" fmla="*/ 765 h 816"/>
                    <a:gd name="T58" fmla="*/ 896 w 983"/>
                    <a:gd name="T59" fmla="*/ 721 h 816"/>
                    <a:gd name="T60" fmla="*/ 852 w 983"/>
                    <a:gd name="T61" fmla="*/ 678 h 816"/>
                    <a:gd name="T62" fmla="*/ 683 w 983"/>
                    <a:gd name="T63" fmla="*/ 680 h 816"/>
                    <a:gd name="T64" fmla="*/ 654 w 983"/>
                    <a:gd name="T65" fmla="*/ 659 h 816"/>
                    <a:gd name="T66" fmla="*/ 613 w 983"/>
                    <a:gd name="T67" fmla="*/ 467 h 816"/>
                    <a:gd name="T68" fmla="*/ 674 w 983"/>
                    <a:gd name="T69" fmla="*/ 366 h 816"/>
                    <a:gd name="T70" fmla="*/ 695 w 983"/>
                    <a:gd name="T71" fmla="*/ 361 h 816"/>
                    <a:gd name="T72" fmla="*/ 765 w 983"/>
                    <a:gd name="T73" fmla="*/ 437 h 816"/>
                    <a:gd name="T74" fmla="*/ 852 w 983"/>
                    <a:gd name="T75" fmla="*/ 437 h 816"/>
                    <a:gd name="T76" fmla="*/ 796 w 983"/>
                    <a:gd name="T77" fmla="*/ 395 h 816"/>
                    <a:gd name="T78" fmla="*/ 870 w 983"/>
                    <a:gd name="T79" fmla="*/ 286 h 816"/>
                    <a:gd name="T80" fmla="*/ 916 w 983"/>
                    <a:gd name="T81" fmla="*/ 505 h 816"/>
                    <a:gd name="T82" fmla="*/ 914 w 983"/>
                    <a:gd name="T83" fmla="*/ 572 h 816"/>
                    <a:gd name="T84" fmla="*/ 939 w 983"/>
                    <a:gd name="T85" fmla="*/ 668 h 816"/>
                    <a:gd name="T86" fmla="*/ 977 w 983"/>
                    <a:gd name="T87" fmla="*/ 647 h 816"/>
                    <a:gd name="T88" fmla="*/ 612 w 983"/>
                    <a:gd name="T89" fmla="*/ 673 h 816"/>
                    <a:gd name="T90" fmla="*/ 547 w 983"/>
                    <a:gd name="T91" fmla="*/ 696 h 816"/>
                    <a:gd name="T92" fmla="*/ 484 w 983"/>
                    <a:gd name="T93" fmla="*/ 697 h 816"/>
                    <a:gd name="T94" fmla="*/ 418 w 983"/>
                    <a:gd name="T95" fmla="*/ 673 h 816"/>
                    <a:gd name="T96" fmla="*/ 468 w 983"/>
                    <a:gd name="T97" fmla="*/ 507 h 816"/>
                    <a:gd name="T98" fmla="*/ 532 w 983"/>
                    <a:gd name="T99" fmla="*/ 489 h 816"/>
                    <a:gd name="T100" fmla="*/ 609 w 983"/>
                    <a:gd name="T101" fmla="*/ 665 h 816"/>
                    <a:gd name="T102" fmla="*/ 569 w 983"/>
                    <a:gd name="T103" fmla="*/ 423 h 816"/>
                    <a:gd name="T104" fmla="*/ 489 w 983"/>
                    <a:gd name="T105" fmla="*/ 445 h 816"/>
                    <a:gd name="T106" fmla="*/ 390 w 983"/>
                    <a:gd name="T107" fmla="*/ 341 h 816"/>
                    <a:gd name="T108" fmla="*/ 636 w 983"/>
                    <a:gd name="T109" fmla="*/ 343 h 816"/>
                    <a:gd name="T110" fmla="*/ 703 w 983"/>
                    <a:gd name="T111" fmla="*/ 290 h 816"/>
                    <a:gd name="T112" fmla="*/ 639 w 983"/>
                    <a:gd name="T113" fmla="*/ 297 h 816"/>
                    <a:gd name="T114" fmla="*/ 344 w 983"/>
                    <a:gd name="T115" fmla="*/ 279 h 816"/>
                    <a:gd name="T116" fmla="*/ 109 w 983"/>
                    <a:gd name="T117" fmla="*/ 251 h 816"/>
                    <a:gd name="T118" fmla="*/ 848 w 983"/>
                    <a:gd name="T119" fmla="*/ 24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3" h="816">
                      <a:moveTo>
                        <a:pt x="977" y="647"/>
                      </a:moveTo>
                      <a:cubicBezTo>
                        <a:pt x="958" y="612"/>
                        <a:pt x="957" y="586"/>
                        <a:pt x="958" y="576"/>
                      </a:cubicBezTo>
                      <a:cubicBezTo>
                        <a:pt x="960" y="552"/>
                        <a:pt x="960" y="528"/>
                        <a:pt x="960" y="505"/>
                      </a:cubicBezTo>
                      <a:cubicBezTo>
                        <a:pt x="960" y="499"/>
                        <a:pt x="960" y="493"/>
                        <a:pt x="960" y="487"/>
                      </a:cubicBezTo>
                      <a:cubicBezTo>
                        <a:pt x="960" y="214"/>
                        <a:pt x="749" y="0"/>
                        <a:pt x="481" y="0"/>
                      </a:cubicBezTo>
                      <a:cubicBezTo>
                        <a:pt x="350" y="0"/>
                        <a:pt x="229" y="50"/>
                        <a:pt x="139" y="142"/>
                      </a:cubicBezTo>
                      <a:cubicBezTo>
                        <a:pt x="49" y="234"/>
                        <a:pt x="0" y="356"/>
                        <a:pt x="0" y="487"/>
                      </a:cubicBezTo>
                      <a:cubicBezTo>
                        <a:pt x="0" y="489"/>
                        <a:pt x="2" y="657"/>
                        <a:pt x="31" y="692"/>
                      </a:cubicBezTo>
                      <a:cubicBezTo>
                        <a:pt x="33" y="694"/>
                        <a:pt x="35" y="696"/>
                        <a:pt x="37" y="697"/>
                      </a:cubicBezTo>
                      <a:cubicBezTo>
                        <a:pt x="41" y="699"/>
                        <a:pt x="45" y="700"/>
                        <a:pt x="48" y="700"/>
                      </a:cubicBezTo>
                      <a:cubicBezTo>
                        <a:pt x="49" y="700"/>
                        <a:pt x="49" y="700"/>
                        <a:pt x="50" y="700"/>
                      </a:cubicBezTo>
                      <a:cubicBezTo>
                        <a:pt x="54" y="699"/>
                        <a:pt x="59" y="698"/>
                        <a:pt x="62" y="695"/>
                      </a:cubicBezTo>
                      <a:cubicBezTo>
                        <a:pt x="68" y="690"/>
                        <a:pt x="70" y="684"/>
                        <a:pt x="70" y="677"/>
                      </a:cubicBezTo>
                      <a:cubicBezTo>
                        <a:pt x="70" y="672"/>
                        <a:pt x="68" y="668"/>
                        <a:pt x="65" y="664"/>
                      </a:cubicBezTo>
                      <a:cubicBezTo>
                        <a:pt x="55" y="650"/>
                        <a:pt x="44" y="555"/>
                        <a:pt x="44" y="487"/>
                      </a:cubicBezTo>
                      <a:cubicBezTo>
                        <a:pt x="44" y="416"/>
                        <a:pt x="60" y="350"/>
                        <a:pt x="87" y="291"/>
                      </a:cubicBezTo>
                      <a:cubicBezTo>
                        <a:pt x="299" y="333"/>
                        <a:pt x="299" y="333"/>
                        <a:pt x="299" y="333"/>
                      </a:cubicBezTo>
                      <a:cubicBezTo>
                        <a:pt x="212" y="414"/>
                        <a:pt x="212" y="414"/>
                        <a:pt x="212" y="414"/>
                      </a:cubicBezTo>
                      <a:cubicBezTo>
                        <a:pt x="207" y="413"/>
                        <a:pt x="203" y="412"/>
                        <a:pt x="198" y="412"/>
                      </a:cubicBezTo>
                      <a:cubicBezTo>
                        <a:pt x="174" y="412"/>
                        <a:pt x="155" y="431"/>
                        <a:pt x="155" y="455"/>
                      </a:cubicBezTo>
                      <a:cubicBezTo>
                        <a:pt x="155" y="479"/>
                        <a:pt x="174" y="499"/>
                        <a:pt x="198" y="499"/>
                      </a:cubicBezTo>
                      <a:cubicBezTo>
                        <a:pt x="222" y="499"/>
                        <a:pt x="242" y="479"/>
                        <a:pt x="242" y="455"/>
                      </a:cubicBezTo>
                      <a:cubicBezTo>
                        <a:pt x="242" y="452"/>
                        <a:pt x="242" y="449"/>
                        <a:pt x="241" y="447"/>
                      </a:cubicBezTo>
                      <a:cubicBezTo>
                        <a:pt x="330" y="364"/>
                        <a:pt x="330" y="364"/>
                        <a:pt x="330" y="364"/>
                      </a:cubicBezTo>
                      <a:cubicBezTo>
                        <a:pt x="335" y="365"/>
                        <a:pt x="339" y="366"/>
                        <a:pt x="344" y="366"/>
                      </a:cubicBezTo>
                      <a:cubicBezTo>
                        <a:pt x="347" y="366"/>
                        <a:pt x="350" y="366"/>
                        <a:pt x="353" y="365"/>
                      </a:cubicBezTo>
                      <a:cubicBezTo>
                        <a:pt x="413" y="445"/>
                        <a:pt x="413" y="445"/>
                        <a:pt x="413" y="445"/>
                      </a:cubicBezTo>
                      <a:cubicBezTo>
                        <a:pt x="410" y="451"/>
                        <a:pt x="408" y="459"/>
                        <a:pt x="408" y="467"/>
                      </a:cubicBezTo>
                      <a:cubicBezTo>
                        <a:pt x="408" y="481"/>
                        <a:pt x="414" y="493"/>
                        <a:pt x="424" y="501"/>
                      </a:cubicBezTo>
                      <a:cubicBezTo>
                        <a:pt x="376" y="659"/>
                        <a:pt x="376" y="659"/>
                        <a:pt x="376" y="659"/>
                      </a:cubicBezTo>
                      <a:cubicBezTo>
                        <a:pt x="368" y="661"/>
                        <a:pt x="361" y="665"/>
                        <a:pt x="355" y="671"/>
                      </a:cubicBezTo>
                      <a:cubicBezTo>
                        <a:pt x="353" y="673"/>
                        <a:pt x="350" y="676"/>
                        <a:pt x="349" y="679"/>
                      </a:cubicBezTo>
                      <a:cubicBezTo>
                        <a:pt x="184" y="689"/>
                        <a:pt x="184" y="689"/>
                        <a:pt x="184" y="689"/>
                      </a:cubicBezTo>
                      <a:cubicBezTo>
                        <a:pt x="181" y="683"/>
                        <a:pt x="176" y="679"/>
                        <a:pt x="170" y="675"/>
                      </a:cubicBezTo>
                      <a:cubicBezTo>
                        <a:pt x="164" y="671"/>
                        <a:pt x="156" y="668"/>
                        <a:pt x="147" y="668"/>
                      </a:cubicBezTo>
                      <a:cubicBezTo>
                        <a:pt x="138" y="668"/>
                        <a:pt x="129" y="671"/>
                        <a:pt x="122" y="676"/>
                      </a:cubicBezTo>
                      <a:cubicBezTo>
                        <a:pt x="113" y="683"/>
                        <a:pt x="106" y="694"/>
                        <a:pt x="104" y="706"/>
                      </a:cubicBezTo>
                      <a:cubicBezTo>
                        <a:pt x="104" y="708"/>
                        <a:pt x="104" y="710"/>
                        <a:pt x="104" y="712"/>
                      </a:cubicBezTo>
                      <a:cubicBezTo>
                        <a:pt x="104" y="726"/>
                        <a:pt x="110" y="738"/>
                        <a:pt x="121" y="746"/>
                      </a:cubicBezTo>
                      <a:cubicBezTo>
                        <a:pt x="128" y="752"/>
                        <a:pt x="137" y="755"/>
                        <a:pt x="147" y="755"/>
                      </a:cubicBezTo>
                      <a:cubicBezTo>
                        <a:pt x="164" y="755"/>
                        <a:pt x="178" y="746"/>
                        <a:pt x="185" y="733"/>
                      </a:cubicBezTo>
                      <a:cubicBezTo>
                        <a:pt x="348" y="723"/>
                        <a:pt x="348" y="723"/>
                        <a:pt x="348" y="723"/>
                      </a:cubicBezTo>
                      <a:cubicBezTo>
                        <a:pt x="354" y="734"/>
                        <a:pt x="365" y="743"/>
                        <a:pt x="378" y="745"/>
                      </a:cubicBezTo>
                      <a:cubicBezTo>
                        <a:pt x="417" y="816"/>
                        <a:pt x="417" y="816"/>
                        <a:pt x="417" y="816"/>
                      </a:cubicBezTo>
                      <a:cubicBezTo>
                        <a:pt x="468" y="816"/>
                        <a:pt x="468" y="816"/>
                        <a:pt x="468" y="816"/>
                      </a:cubicBezTo>
                      <a:cubicBezTo>
                        <a:pt x="420" y="729"/>
                        <a:pt x="420" y="729"/>
                        <a:pt x="420" y="729"/>
                      </a:cubicBezTo>
                      <a:cubicBezTo>
                        <a:pt x="420" y="729"/>
                        <a:pt x="420" y="728"/>
                        <a:pt x="420" y="728"/>
                      </a:cubicBezTo>
                      <a:cubicBezTo>
                        <a:pt x="474" y="740"/>
                        <a:pt x="474" y="740"/>
                        <a:pt x="474" y="740"/>
                      </a:cubicBezTo>
                      <a:cubicBezTo>
                        <a:pt x="480" y="758"/>
                        <a:pt x="496" y="771"/>
                        <a:pt x="516" y="771"/>
                      </a:cubicBezTo>
                      <a:cubicBezTo>
                        <a:pt x="536" y="771"/>
                        <a:pt x="553" y="757"/>
                        <a:pt x="558" y="739"/>
                      </a:cubicBezTo>
                      <a:cubicBezTo>
                        <a:pt x="610" y="728"/>
                        <a:pt x="610" y="728"/>
                        <a:pt x="610" y="728"/>
                      </a:cubicBezTo>
                      <a:cubicBezTo>
                        <a:pt x="612" y="731"/>
                        <a:pt x="614" y="733"/>
                        <a:pt x="617" y="735"/>
                      </a:cubicBezTo>
                      <a:cubicBezTo>
                        <a:pt x="577" y="816"/>
                        <a:pt x="577" y="816"/>
                        <a:pt x="577" y="816"/>
                      </a:cubicBezTo>
                      <a:cubicBezTo>
                        <a:pt x="626" y="816"/>
                        <a:pt x="626" y="816"/>
                        <a:pt x="626" y="816"/>
                      </a:cubicBezTo>
                      <a:cubicBezTo>
                        <a:pt x="663" y="741"/>
                        <a:pt x="663" y="741"/>
                        <a:pt x="663" y="741"/>
                      </a:cubicBezTo>
                      <a:cubicBezTo>
                        <a:pt x="671" y="738"/>
                        <a:pt x="677" y="732"/>
                        <a:pt x="682" y="725"/>
                      </a:cubicBezTo>
                      <a:cubicBezTo>
                        <a:pt x="812" y="738"/>
                        <a:pt x="812" y="738"/>
                        <a:pt x="812" y="738"/>
                      </a:cubicBezTo>
                      <a:cubicBezTo>
                        <a:pt x="818" y="754"/>
                        <a:pt x="834" y="765"/>
                        <a:pt x="852" y="765"/>
                      </a:cubicBezTo>
                      <a:cubicBezTo>
                        <a:pt x="858" y="765"/>
                        <a:pt x="863" y="764"/>
                        <a:pt x="868" y="762"/>
                      </a:cubicBezTo>
                      <a:cubicBezTo>
                        <a:pt x="884" y="755"/>
                        <a:pt x="896" y="740"/>
                        <a:pt x="896" y="721"/>
                      </a:cubicBezTo>
                      <a:cubicBezTo>
                        <a:pt x="896" y="717"/>
                        <a:pt x="895" y="713"/>
                        <a:pt x="894" y="709"/>
                      </a:cubicBezTo>
                      <a:cubicBezTo>
                        <a:pt x="889" y="691"/>
                        <a:pt x="872" y="678"/>
                        <a:pt x="852" y="678"/>
                      </a:cubicBezTo>
                      <a:cubicBezTo>
                        <a:pt x="838" y="678"/>
                        <a:pt x="826" y="684"/>
                        <a:pt x="818" y="694"/>
                      </a:cubicBezTo>
                      <a:cubicBezTo>
                        <a:pt x="683" y="680"/>
                        <a:pt x="683" y="680"/>
                        <a:pt x="683" y="680"/>
                      </a:cubicBezTo>
                      <a:cubicBezTo>
                        <a:pt x="679" y="674"/>
                        <a:pt x="673" y="668"/>
                        <a:pt x="666" y="664"/>
                      </a:cubicBezTo>
                      <a:cubicBezTo>
                        <a:pt x="662" y="662"/>
                        <a:pt x="658" y="660"/>
                        <a:pt x="654" y="659"/>
                      </a:cubicBezTo>
                      <a:cubicBezTo>
                        <a:pt x="598" y="499"/>
                        <a:pt x="598" y="499"/>
                        <a:pt x="598" y="499"/>
                      </a:cubicBezTo>
                      <a:cubicBezTo>
                        <a:pt x="607" y="491"/>
                        <a:pt x="613" y="480"/>
                        <a:pt x="613" y="467"/>
                      </a:cubicBezTo>
                      <a:cubicBezTo>
                        <a:pt x="613" y="459"/>
                        <a:pt x="611" y="453"/>
                        <a:pt x="608" y="447"/>
                      </a:cubicBezTo>
                      <a:cubicBezTo>
                        <a:pt x="674" y="366"/>
                        <a:pt x="674" y="366"/>
                        <a:pt x="674" y="366"/>
                      </a:cubicBezTo>
                      <a:cubicBezTo>
                        <a:pt x="674" y="366"/>
                        <a:pt x="674" y="366"/>
                        <a:pt x="674" y="366"/>
                      </a:cubicBezTo>
                      <a:cubicBezTo>
                        <a:pt x="682" y="366"/>
                        <a:pt x="689" y="364"/>
                        <a:pt x="695" y="361"/>
                      </a:cubicBezTo>
                      <a:cubicBezTo>
                        <a:pt x="766" y="427"/>
                        <a:pt x="766" y="427"/>
                        <a:pt x="766" y="427"/>
                      </a:cubicBezTo>
                      <a:cubicBezTo>
                        <a:pt x="765" y="430"/>
                        <a:pt x="765" y="433"/>
                        <a:pt x="765" y="437"/>
                      </a:cubicBezTo>
                      <a:cubicBezTo>
                        <a:pt x="765" y="461"/>
                        <a:pt x="785" y="480"/>
                        <a:pt x="809" y="480"/>
                      </a:cubicBezTo>
                      <a:cubicBezTo>
                        <a:pt x="833" y="480"/>
                        <a:pt x="852" y="461"/>
                        <a:pt x="852" y="437"/>
                      </a:cubicBezTo>
                      <a:cubicBezTo>
                        <a:pt x="852" y="413"/>
                        <a:pt x="833" y="393"/>
                        <a:pt x="809" y="393"/>
                      </a:cubicBezTo>
                      <a:cubicBezTo>
                        <a:pt x="804" y="393"/>
                        <a:pt x="800" y="394"/>
                        <a:pt x="796" y="395"/>
                      </a:cubicBezTo>
                      <a:cubicBezTo>
                        <a:pt x="726" y="329"/>
                        <a:pt x="726" y="329"/>
                        <a:pt x="726" y="329"/>
                      </a:cubicBezTo>
                      <a:cubicBezTo>
                        <a:pt x="870" y="286"/>
                        <a:pt x="870" y="286"/>
                        <a:pt x="870" y="286"/>
                      </a:cubicBezTo>
                      <a:cubicBezTo>
                        <a:pt x="899" y="346"/>
                        <a:pt x="916" y="414"/>
                        <a:pt x="916" y="487"/>
                      </a:cubicBezTo>
                      <a:cubicBezTo>
                        <a:pt x="916" y="493"/>
                        <a:pt x="916" y="499"/>
                        <a:pt x="916" y="505"/>
                      </a:cubicBezTo>
                      <a:cubicBezTo>
                        <a:pt x="916" y="528"/>
                        <a:pt x="916" y="550"/>
                        <a:pt x="914" y="572"/>
                      </a:cubicBezTo>
                      <a:cubicBezTo>
                        <a:pt x="914" y="572"/>
                        <a:pt x="914" y="572"/>
                        <a:pt x="914" y="572"/>
                      </a:cubicBezTo>
                      <a:cubicBezTo>
                        <a:pt x="912" y="598"/>
                        <a:pt x="919" y="629"/>
                        <a:pt x="933" y="658"/>
                      </a:cubicBezTo>
                      <a:cubicBezTo>
                        <a:pt x="935" y="661"/>
                        <a:pt x="937" y="665"/>
                        <a:pt x="939" y="668"/>
                      </a:cubicBezTo>
                      <a:cubicBezTo>
                        <a:pt x="945" y="679"/>
                        <a:pt x="958" y="683"/>
                        <a:pt x="969" y="677"/>
                      </a:cubicBezTo>
                      <a:cubicBezTo>
                        <a:pt x="979" y="671"/>
                        <a:pt x="983" y="657"/>
                        <a:pt x="977" y="647"/>
                      </a:cubicBezTo>
                      <a:close/>
                      <a:moveTo>
                        <a:pt x="609" y="665"/>
                      </a:moveTo>
                      <a:cubicBezTo>
                        <a:pt x="612" y="673"/>
                        <a:pt x="612" y="673"/>
                        <a:pt x="612" y="673"/>
                      </a:cubicBezTo>
                      <a:cubicBezTo>
                        <a:pt x="609" y="677"/>
                        <a:pt x="607" y="680"/>
                        <a:pt x="605" y="684"/>
                      </a:cubicBezTo>
                      <a:cubicBezTo>
                        <a:pt x="547" y="696"/>
                        <a:pt x="547" y="696"/>
                        <a:pt x="547" y="696"/>
                      </a:cubicBezTo>
                      <a:cubicBezTo>
                        <a:pt x="539" y="688"/>
                        <a:pt x="528" y="684"/>
                        <a:pt x="516" y="684"/>
                      </a:cubicBezTo>
                      <a:cubicBezTo>
                        <a:pt x="503" y="684"/>
                        <a:pt x="492" y="689"/>
                        <a:pt x="484" y="697"/>
                      </a:cubicBezTo>
                      <a:cubicBezTo>
                        <a:pt x="425" y="684"/>
                        <a:pt x="425" y="684"/>
                        <a:pt x="425" y="684"/>
                      </a:cubicBezTo>
                      <a:cubicBezTo>
                        <a:pt x="424" y="680"/>
                        <a:pt x="421" y="676"/>
                        <a:pt x="418" y="673"/>
                      </a:cubicBezTo>
                      <a:cubicBezTo>
                        <a:pt x="419" y="669"/>
                        <a:pt x="419" y="669"/>
                        <a:pt x="419" y="669"/>
                      </a:cubicBezTo>
                      <a:cubicBezTo>
                        <a:pt x="468" y="507"/>
                        <a:pt x="468" y="507"/>
                        <a:pt x="468" y="507"/>
                      </a:cubicBezTo>
                      <a:cubicBezTo>
                        <a:pt x="477" y="503"/>
                        <a:pt x="484" y="497"/>
                        <a:pt x="489" y="489"/>
                      </a:cubicBezTo>
                      <a:cubicBezTo>
                        <a:pt x="532" y="489"/>
                        <a:pt x="532" y="489"/>
                        <a:pt x="532" y="489"/>
                      </a:cubicBezTo>
                      <a:cubicBezTo>
                        <a:pt x="537" y="497"/>
                        <a:pt x="545" y="504"/>
                        <a:pt x="554" y="507"/>
                      </a:cubicBezTo>
                      <a:lnTo>
                        <a:pt x="609" y="665"/>
                      </a:lnTo>
                      <a:close/>
                      <a:moveTo>
                        <a:pt x="570" y="423"/>
                      </a:moveTo>
                      <a:cubicBezTo>
                        <a:pt x="570" y="423"/>
                        <a:pt x="570" y="423"/>
                        <a:pt x="569" y="423"/>
                      </a:cubicBezTo>
                      <a:cubicBezTo>
                        <a:pt x="553" y="423"/>
                        <a:pt x="539" y="432"/>
                        <a:pt x="532" y="445"/>
                      </a:cubicBezTo>
                      <a:cubicBezTo>
                        <a:pt x="489" y="445"/>
                        <a:pt x="489" y="445"/>
                        <a:pt x="489" y="445"/>
                      </a:cubicBezTo>
                      <a:cubicBezTo>
                        <a:pt x="481" y="432"/>
                        <a:pt x="468" y="424"/>
                        <a:pt x="452" y="423"/>
                      </a:cubicBezTo>
                      <a:cubicBezTo>
                        <a:pt x="390" y="341"/>
                        <a:pt x="390" y="341"/>
                        <a:pt x="390" y="341"/>
                      </a:cubicBezTo>
                      <a:cubicBezTo>
                        <a:pt x="635" y="341"/>
                        <a:pt x="635" y="341"/>
                        <a:pt x="635" y="341"/>
                      </a:cubicBezTo>
                      <a:cubicBezTo>
                        <a:pt x="635" y="342"/>
                        <a:pt x="636" y="342"/>
                        <a:pt x="636" y="343"/>
                      </a:cubicBezTo>
                      <a:lnTo>
                        <a:pt x="570" y="423"/>
                      </a:lnTo>
                      <a:close/>
                      <a:moveTo>
                        <a:pt x="703" y="290"/>
                      </a:moveTo>
                      <a:cubicBezTo>
                        <a:pt x="696" y="283"/>
                        <a:pt x="686" y="279"/>
                        <a:pt x="674" y="279"/>
                      </a:cubicBezTo>
                      <a:cubicBezTo>
                        <a:pt x="660" y="279"/>
                        <a:pt x="647" y="286"/>
                        <a:pt x="639" y="297"/>
                      </a:cubicBezTo>
                      <a:cubicBezTo>
                        <a:pt x="380" y="297"/>
                        <a:pt x="380" y="297"/>
                        <a:pt x="380" y="297"/>
                      </a:cubicBezTo>
                      <a:cubicBezTo>
                        <a:pt x="372" y="286"/>
                        <a:pt x="359" y="279"/>
                        <a:pt x="344" y="279"/>
                      </a:cubicBezTo>
                      <a:cubicBezTo>
                        <a:pt x="333" y="279"/>
                        <a:pt x="322" y="284"/>
                        <a:pt x="315" y="291"/>
                      </a:cubicBezTo>
                      <a:cubicBezTo>
                        <a:pt x="109" y="251"/>
                        <a:pt x="109" y="251"/>
                        <a:pt x="109" y="251"/>
                      </a:cubicBezTo>
                      <a:cubicBezTo>
                        <a:pt x="186" y="125"/>
                        <a:pt x="322" y="44"/>
                        <a:pt x="481" y="44"/>
                      </a:cubicBezTo>
                      <a:cubicBezTo>
                        <a:pt x="637" y="44"/>
                        <a:pt x="772" y="124"/>
                        <a:pt x="848" y="246"/>
                      </a:cubicBezTo>
                      <a:lnTo>
                        <a:pt x="703"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6">
                  <a:extLst>
                    <a:ext uri="{FF2B5EF4-FFF2-40B4-BE49-F238E27FC236}">
                      <a16:creationId xmlns:a16="http://schemas.microsoft.com/office/drawing/2014/main" id="{50C0ED79-B0B0-4E5A-92A0-D62CAC7AB6F3}"/>
                    </a:ext>
                  </a:extLst>
                </p:cNvPr>
                <p:cNvSpPr>
                  <a:spLocks/>
                </p:cNvSpPr>
                <p:nvPr/>
              </p:nvSpPr>
              <p:spPr bwMode="auto">
                <a:xfrm>
                  <a:off x="5373687" y="2738438"/>
                  <a:ext cx="1443038" cy="1377949"/>
                </a:xfrm>
                <a:custGeom>
                  <a:avLst/>
                  <a:gdLst>
                    <a:gd name="connsiteX0" fmla="*/ 1427273 w 1443038"/>
                    <a:gd name="connsiteY0" fmla="*/ 1274762 h 1377949"/>
                    <a:gd name="connsiteX1" fmla="*/ 1443038 w 1443038"/>
                    <a:gd name="connsiteY1" fmla="*/ 1290527 h 1377949"/>
                    <a:gd name="connsiteX2" fmla="*/ 1443038 w 1443038"/>
                    <a:gd name="connsiteY2" fmla="*/ 1362184 h 1377949"/>
                    <a:gd name="connsiteX3" fmla="*/ 1427273 w 1443038"/>
                    <a:gd name="connsiteY3" fmla="*/ 1377949 h 1377949"/>
                    <a:gd name="connsiteX4" fmla="*/ 1355615 w 1443038"/>
                    <a:gd name="connsiteY4" fmla="*/ 1377949 h 1377949"/>
                    <a:gd name="connsiteX5" fmla="*/ 1339850 w 1443038"/>
                    <a:gd name="connsiteY5" fmla="*/ 1362184 h 1377949"/>
                    <a:gd name="connsiteX6" fmla="*/ 1355615 w 1443038"/>
                    <a:gd name="connsiteY6" fmla="*/ 1346420 h 1377949"/>
                    <a:gd name="connsiteX7" fmla="*/ 1411509 w 1443038"/>
                    <a:gd name="connsiteY7" fmla="*/ 1346420 h 1377949"/>
                    <a:gd name="connsiteX8" fmla="*/ 1411509 w 1443038"/>
                    <a:gd name="connsiteY8" fmla="*/ 1290527 h 1377949"/>
                    <a:gd name="connsiteX9" fmla="*/ 1427273 w 1443038"/>
                    <a:gd name="connsiteY9" fmla="*/ 1274762 h 1377949"/>
                    <a:gd name="connsiteX10" fmla="*/ 15765 w 1443038"/>
                    <a:gd name="connsiteY10" fmla="*/ 1274762 h 1377949"/>
                    <a:gd name="connsiteX11" fmla="*/ 31529 w 1443038"/>
                    <a:gd name="connsiteY11" fmla="*/ 1290527 h 1377949"/>
                    <a:gd name="connsiteX12" fmla="*/ 31529 w 1443038"/>
                    <a:gd name="connsiteY12" fmla="*/ 1346420 h 1377949"/>
                    <a:gd name="connsiteX13" fmla="*/ 87423 w 1443038"/>
                    <a:gd name="connsiteY13" fmla="*/ 1346420 h 1377949"/>
                    <a:gd name="connsiteX14" fmla="*/ 103188 w 1443038"/>
                    <a:gd name="connsiteY14" fmla="*/ 1362184 h 1377949"/>
                    <a:gd name="connsiteX15" fmla="*/ 87423 w 1443038"/>
                    <a:gd name="connsiteY15" fmla="*/ 1377949 h 1377949"/>
                    <a:gd name="connsiteX16" fmla="*/ 15765 w 1443038"/>
                    <a:gd name="connsiteY16" fmla="*/ 1377949 h 1377949"/>
                    <a:gd name="connsiteX17" fmla="*/ 0 w 1443038"/>
                    <a:gd name="connsiteY17" fmla="*/ 1362184 h 1377949"/>
                    <a:gd name="connsiteX18" fmla="*/ 0 w 1443038"/>
                    <a:gd name="connsiteY18" fmla="*/ 1290527 h 1377949"/>
                    <a:gd name="connsiteX19" fmla="*/ 15765 w 1443038"/>
                    <a:gd name="connsiteY19" fmla="*/ 1274762 h 1377949"/>
                    <a:gd name="connsiteX20" fmla="*/ 502474 w 1443038"/>
                    <a:gd name="connsiteY20" fmla="*/ 969962 h 1377949"/>
                    <a:gd name="connsiteX21" fmla="*/ 513894 w 1443038"/>
                    <a:gd name="connsiteY21" fmla="*/ 969962 h 1377949"/>
                    <a:gd name="connsiteX22" fmla="*/ 533880 w 1443038"/>
                    <a:gd name="connsiteY22" fmla="*/ 986406 h 1377949"/>
                    <a:gd name="connsiteX23" fmla="*/ 544586 w 1443038"/>
                    <a:gd name="connsiteY23" fmla="*/ 994985 h 1377949"/>
                    <a:gd name="connsiteX24" fmla="*/ 718030 w 1443038"/>
                    <a:gd name="connsiteY24" fmla="*/ 1137261 h 1377949"/>
                    <a:gd name="connsiteX25" fmla="*/ 726595 w 1443038"/>
                    <a:gd name="connsiteY25" fmla="*/ 1136546 h 1377949"/>
                    <a:gd name="connsiteX26" fmla="*/ 900038 w 1443038"/>
                    <a:gd name="connsiteY26" fmla="*/ 994985 h 1377949"/>
                    <a:gd name="connsiteX27" fmla="*/ 910745 w 1443038"/>
                    <a:gd name="connsiteY27" fmla="*/ 986406 h 1377949"/>
                    <a:gd name="connsiteX28" fmla="*/ 930730 w 1443038"/>
                    <a:gd name="connsiteY28" fmla="*/ 969962 h 1377949"/>
                    <a:gd name="connsiteX29" fmla="*/ 942150 w 1443038"/>
                    <a:gd name="connsiteY29" fmla="*/ 969962 h 1377949"/>
                    <a:gd name="connsiteX30" fmla="*/ 1207669 w 1443038"/>
                    <a:gd name="connsiteY30" fmla="*/ 1017149 h 1377949"/>
                    <a:gd name="connsiteX31" fmla="*/ 1363268 w 1443038"/>
                    <a:gd name="connsiteY31" fmla="*/ 1243789 h 1377949"/>
                    <a:gd name="connsiteX32" fmla="*/ 1348279 w 1443038"/>
                    <a:gd name="connsiteY32" fmla="*/ 1265237 h 1377949"/>
                    <a:gd name="connsiteX33" fmla="*/ 96345 w 1443038"/>
                    <a:gd name="connsiteY33" fmla="*/ 1265237 h 1377949"/>
                    <a:gd name="connsiteX34" fmla="*/ 81356 w 1443038"/>
                    <a:gd name="connsiteY34" fmla="*/ 1243789 h 1377949"/>
                    <a:gd name="connsiteX35" fmla="*/ 236956 w 1443038"/>
                    <a:gd name="connsiteY35" fmla="*/ 1017149 h 1377949"/>
                    <a:gd name="connsiteX36" fmla="*/ 502474 w 1443038"/>
                    <a:gd name="connsiteY36" fmla="*/ 969962 h 1377949"/>
                    <a:gd name="connsiteX37" fmla="*/ 461962 w 1443038"/>
                    <a:gd name="connsiteY37" fmla="*/ 736600 h 1377949"/>
                    <a:gd name="connsiteX38" fmla="*/ 496284 w 1443038"/>
                    <a:gd name="connsiteY38" fmla="*/ 736600 h 1377949"/>
                    <a:gd name="connsiteX39" fmla="*/ 559922 w 1443038"/>
                    <a:gd name="connsiteY39" fmla="*/ 858347 h 1377949"/>
                    <a:gd name="connsiteX40" fmla="*/ 567072 w 1443038"/>
                    <a:gd name="connsiteY40" fmla="*/ 864043 h 1377949"/>
                    <a:gd name="connsiteX41" fmla="*/ 595673 w 1443038"/>
                    <a:gd name="connsiteY41" fmla="*/ 885402 h 1377949"/>
                    <a:gd name="connsiteX42" fmla="*/ 721519 w 1443038"/>
                    <a:gd name="connsiteY42" fmla="*/ 938800 h 1377949"/>
                    <a:gd name="connsiteX43" fmla="*/ 847364 w 1443038"/>
                    <a:gd name="connsiteY43" fmla="*/ 885402 h 1377949"/>
                    <a:gd name="connsiteX44" fmla="*/ 875966 w 1443038"/>
                    <a:gd name="connsiteY44" fmla="*/ 864043 h 1377949"/>
                    <a:gd name="connsiteX45" fmla="*/ 883116 w 1443038"/>
                    <a:gd name="connsiteY45" fmla="*/ 858347 h 1377949"/>
                    <a:gd name="connsiteX46" fmla="*/ 946754 w 1443038"/>
                    <a:gd name="connsiteY46" fmla="*/ 736600 h 1377949"/>
                    <a:gd name="connsiteX47" fmla="*/ 981075 w 1443038"/>
                    <a:gd name="connsiteY47" fmla="*/ 736600 h 1377949"/>
                    <a:gd name="connsiteX48" fmla="*/ 918152 w 1443038"/>
                    <a:gd name="connsiteY48" fmla="*/ 864043 h 1377949"/>
                    <a:gd name="connsiteX49" fmla="*/ 910287 w 1443038"/>
                    <a:gd name="connsiteY49" fmla="*/ 874722 h 1377949"/>
                    <a:gd name="connsiteX50" fmla="*/ 910287 w 1443038"/>
                    <a:gd name="connsiteY50" fmla="*/ 916728 h 1377949"/>
                    <a:gd name="connsiteX51" fmla="*/ 910287 w 1443038"/>
                    <a:gd name="connsiteY51" fmla="*/ 945919 h 1377949"/>
                    <a:gd name="connsiteX52" fmla="*/ 878826 w 1443038"/>
                    <a:gd name="connsiteY52" fmla="*/ 971550 h 1377949"/>
                    <a:gd name="connsiteX53" fmla="*/ 878826 w 1443038"/>
                    <a:gd name="connsiteY53" fmla="*/ 939511 h 1377949"/>
                    <a:gd name="connsiteX54" fmla="*/ 878826 w 1443038"/>
                    <a:gd name="connsiteY54" fmla="*/ 901065 h 1377949"/>
                    <a:gd name="connsiteX55" fmla="*/ 847364 w 1443038"/>
                    <a:gd name="connsiteY55" fmla="*/ 922424 h 1377949"/>
                    <a:gd name="connsiteX56" fmla="*/ 721519 w 1443038"/>
                    <a:gd name="connsiteY56" fmla="*/ 970126 h 1377949"/>
                    <a:gd name="connsiteX57" fmla="*/ 595673 w 1443038"/>
                    <a:gd name="connsiteY57" fmla="*/ 922424 h 1377949"/>
                    <a:gd name="connsiteX58" fmla="*/ 564212 w 1443038"/>
                    <a:gd name="connsiteY58" fmla="*/ 901065 h 1377949"/>
                    <a:gd name="connsiteX59" fmla="*/ 564212 w 1443038"/>
                    <a:gd name="connsiteY59" fmla="*/ 939511 h 1377949"/>
                    <a:gd name="connsiteX60" fmla="*/ 564212 w 1443038"/>
                    <a:gd name="connsiteY60" fmla="*/ 971550 h 1377949"/>
                    <a:gd name="connsiteX61" fmla="*/ 532750 w 1443038"/>
                    <a:gd name="connsiteY61" fmla="*/ 945919 h 1377949"/>
                    <a:gd name="connsiteX62" fmla="*/ 532750 w 1443038"/>
                    <a:gd name="connsiteY62" fmla="*/ 916728 h 1377949"/>
                    <a:gd name="connsiteX63" fmla="*/ 532750 w 1443038"/>
                    <a:gd name="connsiteY63" fmla="*/ 874722 h 1377949"/>
                    <a:gd name="connsiteX64" fmla="*/ 524885 w 1443038"/>
                    <a:gd name="connsiteY64" fmla="*/ 864043 h 1377949"/>
                    <a:gd name="connsiteX65" fmla="*/ 461962 w 1443038"/>
                    <a:gd name="connsiteY65" fmla="*/ 736600 h 1377949"/>
                    <a:gd name="connsiteX66" fmla="*/ 195101 w 1443038"/>
                    <a:gd name="connsiteY66" fmla="*/ 673100 h 1377949"/>
                    <a:gd name="connsiteX67" fmla="*/ 396526 w 1443038"/>
                    <a:gd name="connsiteY67" fmla="*/ 673100 h 1377949"/>
                    <a:gd name="connsiteX68" fmla="*/ 435810 w 1443038"/>
                    <a:gd name="connsiteY68" fmla="*/ 673100 h 1377949"/>
                    <a:gd name="connsiteX69" fmla="*/ 470095 w 1443038"/>
                    <a:gd name="connsiteY69" fmla="*/ 673100 h 1377949"/>
                    <a:gd name="connsiteX70" fmla="*/ 503666 w 1443038"/>
                    <a:gd name="connsiteY70" fmla="*/ 673100 h 1377949"/>
                    <a:gd name="connsiteX71" fmla="*/ 679377 w 1443038"/>
                    <a:gd name="connsiteY71" fmla="*/ 673100 h 1377949"/>
                    <a:gd name="connsiteX72" fmla="*/ 715090 w 1443038"/>
                    <a:gd name="connsiteY72" fmla="*/ 673100 h 1377949"/>
                    <a:gd name="connsiteX73" fmla="*/ 760804 w 1443038"/>
                    <a:gd name="connsiteY73" fmla="*/ 673100 h 1377949"/>
                    <a:gd name="connsiteX74" fmla="*/ 795803 w 1443038"/>
                    <a:gd name="connsiteY74" fmla="*/ 673100 h 1377949"/>
                    <a:gd name="connsiteX75" fmla="*/ 939371 w 1443038"/>
                    <a:gd name="connsiteY75" fmla="*/ 673100 h 1377949"/>
                    <a:gd name="connsiteX76" fmla="*/ 972942 w 1443038"/>
                    <a:gd name="connsiteY76" fmla="*/ 673100 h 1377949"/>
                    <a:gd name="connsiteX77" fmla="*/ 1007227 w 1443038"/>
                    <a:gd name="connsiteY77" fmla="*/ 673100 h 1377949"/>
                    <a:gd name="connsiteX78" fmla="*/ 1046512 w 1443038"/>
                    <a:gd name="connsiteY78" fmla="*/ 673100 h 1377949"/>
                    <a:gd name="connsiteX79" fmla="*/ 1247936 w 1443038"/>
                    <a:gd name="connsiteY79" fmla="*/ 673100 h 1377949"/>
                    <a:gd name="connsiteX80" fmla="*/ 1263650 w 1443038"/>
                    <a:gd name="connsiteY80" fmla="*/ 688975 h 1377949"/>
                    <a:gd name="connsiteX81" fmla="*/ 1247936 w 1443038"/>
                    <a:gd name="connsiteY81" fmla="*/ 704850 h 1377949"/>
                    <a:gd name="connsiteX82" fmla="*/ 1027941 w 1443038"/>
                    <a:gd name="connsiteY82" fmla="*/ 704850 h 1377949"/>
                    <a:gd name="connsiteX83" fmla="*/ 994370 w 1443038"/>
                    <a:gd name="connsiteY83" fmla="*/ 704850 h 1377949"/>
                    <a:gd name="connsiteX84" fmla="*/ 960085 w 1443038"/>
                    <a:gd name="connsiteY84" fmla="*/ 704850 h 1377949"/>
                    <a:gd name="connsiteX85" fmla="*/ 925800 w 1443038"/>
                    <a:gd name="connsiteY85" fmla="*/ 704850 h 1377949"/>
                    <a:gd name="connsiteX86" fmla="*/ 770089 w 1443038"/>
                    <a:gd name="connsiteY86" fmla="*/ 704850 h 1377949"/>
                    <a:gd name="connsiteX87" fmla="*/ 705805 w 1443038"/>
                    <a:gd name="connsiteY87" fmla="*/ 704850 h 1377949"/>
                    <a:gd name="connsiteX88" fmla="*/ 517237 w 1443038"/>
                    <a:gd name="connsiteY88" fmla="*/ 704850 h 1377949"/>
                    <a:gd name="connsiteX89" fmla="*/ 482952 w 1443038"/>
                    <a:gd name="connsiteY89" fmla="*/ 704850 h 1377949"/>
                    <a:gd name="connsiteX90" fmla="*/ 448667 w 1443038"/>
                    <a:gd name="connsiteY90" fmla="*/ 704850 h 1377949"/>
                    <a:gd name="connsiteX91" fmla="*/ 415097 w 1443038"/>
                    <a:gd name="connsiteY91" fmla="*/ 704850 h 1377949"/>
                    <a:gd name="connsiteX92" fmla="*/ 195101 w 1443038"/>
                    <a:gd name="connsiteY92" fmla="*/ 704850 h 1377949"/>
                    <a:gd name="connsiteX93" fmla="*/ 179387 w 1443038"/>
                    <a:gd name="connsiteY93" fmla="*/ 688975 h 1377949"/>
                    <a:gd name="connsiteX94" fmla="*/ 195101 w 1443038"/>
                    <a:gd name="connsiteY94" fmla="*/ 673100 h 1377949"/>
                    <a:gd name="connsiteX95" fmla="*/ 1062037 w 1443038"/>
                    <a:gd name="connsiteY95" fmla="*/ 579437 h 1377949"/>
                    <a:gd name="connsiteX96" fmla="*/ 1062037 w 1443038"/>
                    <a:gd name="connsiteY96" fmla="*/ 581548 h 1377949"/>
                    <a:gd name="connsiteX97" fmla="*/ 1034263 w 1443038"/>
                    <a:gd name="connsiteY97" fmla="*/ 641349 h 1377949"/>
                    <a:gd name="connsiteX98" fmla="*/ 985837 w 1443038"/>
                    <a:gd name="connsiteY98" fmla="*/ 641349 h 1377949"/>
                    <a:gd name="connsiteX99" fmla="*/ 992959 w 1443038"/>
                    <a:gd name="connsiteY99" fmla="*/ 633610 h 1377949"/>
                    <a:gd name="connsiteX100" fmla="*/ 1025718 w 1443038"/>
                    <a:gd name="connsiteY100" fmla="*/ 596322 h 1377949"/>
                    <a:gd name="connsiteX101" fmla="*/ 1062037 w 1443038"/>
                    <a:gd name="connsiteY101" fmla="*/ 579437 h 1377949"/>
                    <a:gd name="connsiteX102" fmla="*/ 381000 w 1443038"/>
                    <a:gd name="connsiteY102" fmla="*/ 579437 h 1377949"/>
                    <a:gd name="connsiteX103" fmla="*/ 417320 w 1443038"/>
                    <a:gd name="connsiteY103" fmla="*/ 596322 h 1377949"/>
                    <a:gd name="connsiteX104" fmla="*/ 450079 w 1443038"/>
                    <a:gd name="connsiteY104" fmla="*/ 633610 h 1377949"/>
                    <a:gd name="connsiteX105" fmla="*/ 457200 w 1443038"/>
                    <a:gd name="connsiteY105" fmla="*/ 641349 h 1377949"/>
                    <a:gd name="connsiteX106" fmla="*/ 408774 w 1443038"/>
                    <a:gd name="connsiteY106" fmla="*/ 641349 h 1377949"/>
                    <a:gd name="connsiteX107" fmla="*/ 381000 w 1443038"/>
                    <a:gd name="connsiteY107" fmla="*/ 582955 h 1377949"/>
                    <a:gd name="connsiteX108" fmla="*/ 381000 w 1443038"/>
                    <a:gd name="connsiteY108" fmla="*/ 579437 h 1377949"/>
                    <a:gd name="connsiteX109" fmla="*/ 1355615 w 1443038"/>
                    <a:gd name="connsiteY109" fmla="*/ 0 h 1377949"/>
                    <a:gd name="connsiteX110" fmla="*/ 1427273 w 1443038"/>
                    <a:gd name="connsiteY110" fmla="*/ 0 h 1377949"/>
                    <a:gd name="connsiteX111" fmla="*/ 1443038 w 1443038"/>
                    <a:gd name="connsiteY111" fmla="*/ 15765 h 1377949"/>
                    <a:gd name="connsiteX112" fmla="*/ 1443038 w 1443038"/>
                    <a:gd name="connsiteY112" fmla="*/ 87422 h 1377949"/>
                    <a:gd name="connsiteX113" fmla="*/ 1427273 w 1443038"/>
                    <a:gd name="connsiteY113" fmla="*/ 103187 h 1377949"/>
                    <a:gd name="connsiteX114" fmla="*/ 1411509 w 1443038"/>
                    <a:gd name="connsiteY114" fmla="*/ 87422 h 1377949"/>
                    <a:gd name="connsiteX115" fmla="*/ 1411509 w 1443038"/>
                    <a:gd name="connsiteY115" fmla="*/ 31529 h 1377949"/>
                    <a:gd name="connsiteX116" fmla="*/ 1355615 w 1443038"/>
                    <a:gd name="connsiteY116" fmla="*/ 31529 h 1377949"/>
                    <a:gd name="connsiteX117" fmla="*/ 1339850 w 1443038"/>
                    <a:gd name="connsiteY117" fmla="*/ 15765 h 1377949"/>
                    <a:gd name="connsiteX118" fmla="*/ 1355615 w 1443038"/>
                    <a:gd name="connsiteY118" fmla="*/ 0 h 1377949"/>
                    <a:gd name="connsiteX119" fmla="*/ 15765 w 1443038"/>
                    <a:gd name="connsiteY119" fmla="*/ 0 h 1377949"/>
                    <a:gd name="connsiteX120" fmla="*/ 87423 w 1443038"/>
                    <a:gd name="connsiteY120" fmla="*/ 0 h 1377949"/>
                    <a:gd name="connsiteX121" fmla="*/ 103188 w 1443038"/>
                    <a:gd name="connsiteY121" fmla="*/ 15765 h 1377949"/>
                    <a:gd name="connsiteX122" fmla="*/ 87423 w 1443038"/>
                    <a:gd name="connsiteY122" fmla="*/ 31529 h 1377949"/>
                    <a:gd name="connsiteX123" fmla="*/ 31529 w 1443038"/>
                    <a:gd name="connsiteY123" fmla="*/ 31529 h 1377949"/>
                    <a:gd name="connsiteX124" fmla="*/ 31529 w 1443038"/>
                    <a:gd name="connsiteY124" fmla="*/ 87422 h 1377949"/>
                    <a:gd name="connsiteX125" fmla="*/ 15765 w 1443038"/>
                    <a:gd name="connsiteY125" fmla="*/ 103187 h 1377949"/>
                    <a:gd name="connsiteX126" fmla="*/ 0 w 1443038"/>
                    <a:gd name="connsiteY126" fmla="*/ 87422 h 1377949"/>
                    <a:gd name="connsiteX127" fmla="*/ 0 w 1443038"/>
                    <a:gd name="connsiteY127" fmla="*/ 15765 h 1377949"/>
                    <a:gd name="connsiteX128" fmla="*/ 15765 w 1443038"/>
                    <a:gd name="connsiteY128" fmla="*/ 0 h 13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443038" h="1377949">
                      <a:moveTo>
                        <a:pt x="1427273" y="1274762"/>
                      </a:moveTo>
                      <a:cubicBezTo>
                        <a:pt x="1435872" y="1274762"/>
                        <a:pt x="1443038" y="1281928"/>
                        <a:pt x="1443038" y="1290527"/>
                      </a:cubicBezTo>
                      <a:cubicBezTo>
                        <a:pt x="1443038" y="1290527"/>
                        <a:pt x="1443038" y="1290527"/>
                        <a:pt x="1443038" y="1362184"/>
                      </a:cubicBezTo>
                      <a:cubicBezTo>
                        <a:pt x="1443038" y="1371500"/>
                        <a:pt x="1435872" y="1377949"/>
                        <a:pt x="1427273" y="1377949"/>
                      </a:cubicBezTo>
                      <a:cubicBezTo>
                        <a:pt x="1427273" y="1377949"/>
                        <a:pt x="1427273" y="1377949"/>
                        <a:pt x="1355615" y="1377949"/>
                      </a:cubicBezTo>
                      <a:cubicBezTo>
                        <a:pt x="1347016" y="1377949"/>
                        <a:pt x="1339850" y="1371500"/>
                        <a:pt x="1339850" y="1362184"/>
                      </a:cubicBezTo>
                      <a:cubicBezTo>
                        <a:pt x="1339850" y="1353586"/>
                        <a:pt x="1347016" y="1346420"/>
                        <a:pt x="1355615" y="1346420"/>
                      </a:cubicBezTo>
                      <a:cubicBezTo>
                        <a:pt x="1355615" y="1346420"/>
                        <a:pt x="1355615" y="1346420"/>
                        <a:pt x="1411509" y="1346420"/>
                      </a:cubicBezTo>
                      <a:cubicBezTo>
                        <a:pt x="1411509" y="1346420"/>
                        <a:pt x="1411509" y="1346420"/>
                        <a:pt x="1411509" y="1290527"/>
                      </a:cubicBezTo>
                      <a:cubicBezTo>
                        <a:pt x="1411509" y="1281928"/>
                        <a:pt x="1418674" y="1274762"/>
                        <a:pt x="1427273" y="1274762"/>
                      </a:cubicBezTo>
                      <a:close/>
                      <a:moveTo>
                        <a:pt x="15765" y="1274762"/>
                      </a:moveTo>
                      <a:cubicBezTo>
                        <a:pt x="24364" y="1274762"/>
                        <a:pt x="31529" y="1281928"/>
                        <a:pt x="31529" y="1290527"/>
                      </a:cubicBezTo>
                      <a:cubicBezTo>
                        <a:pt x="31529" y="1290527"/>
                        <a:pt x="31529" y="1290527"/>
                        <a:pt x="31529" y="1346420"/>
                      </a:cubicBezTo>
                      <a:cubicBezTo>
                        <a:pt x="31529" y="1346420"/>
                        <a:pt x="31529" y="1346420"/>
                        <a:pt x="87423" y="1346420"/>
                      </a:cubicBezTo>
                      <a:cubicBezTo>
                        <a:pt x="96022" y="1346420"/>
                        <a:pt x="103188" y="1353586"/>
                        <a:pt x="103188" y="1362184"/>
                      </a:cubicBezTo>
                      <a:cubicBezTo>
                        <a:pt x="103188" y="1371500"/>
                        <a:pt x="96022" y="1377949"/>
                        <a:pt x="87423" y="1377949"/>
                      </a:cubicBezTo>
                      <a:cubicBezTo>
                        <a:pt x="87423" y="1377949"/>
                        <a:pt x="87423" y="1377949"/>
                        <a:pt x="15765" y="1377949"/>
                      </a:cubicBezTo>
                      <a:cubicBezTo>
                        <a:pt x="7166" y="1377949"/>
                        <a:pt x="0" y="1371500"/>
                        <a:pt x="0" y="1362184"/>
                      </a:cubicBezTo>
                      <a:cubicBezTo>
                        <a:pt x="0" y="1362184"/>
                        <a:pt x="0" y="1362184"/>
                        <a:pt x="0" y="1290527"/>
                      </a:cubicBezTo>
                      <a:cubicBezTo>
                        <a:pt x="0" y="1281928"/>
                        <a:pt x="7166" y="1274762"/>
                        <a:pt x="15765" y="1274762"/>
                      </a:cubicBezTo>
                      <a:close/>
                      <a:moveTo>
                        <a:pt x="502474" y="969962"/>
                      </a:moveTo>
                      <a:cubicBezTo>
                        <a:pt x="509612" y="969962"/>
                        <a:pt x="513894" y="969962"/>
                        <a:pt x="513894" y="969962"/>
                      </a:cubicBezTo>
                      <a:cubicBezTo>
                        <a:pt x="513894" y="969962"/>
                        <a:pt x="521032" y="975682"/>
                        <a:pt x="533880" y="986406"/>
                      </a:cubicBezTo>
                      <a:cubicBezTo>
                        <a:pt x="537448" y="989266"/>
                        <a:pt x="541017" y="992126"/>
                        <a:pt x="544586" y="994985"/>
                      </a:cubicBezTo>
                      <a:cubicBezTo>
                        <a:pt x="588839" y="1032163"/>
                        <a:pt x="671635" y="1100083"/>
                        <a:pt x="718030" y="1137261"/>
                      </a:cubicBezTo>
                      <a:cubicBezTo>
                        <a:pt x="720885" y="1138691"/>
                        <a:pt x="724453" y="1138691"/>
                        <a:pt x="726595" y="1136546"/>
                      </a:cubicBezTo>
                      <a:cubicBezTo>
                        <a:pt x="787264" y="1087929"/>
                        <a:pt x="860068" y="1028588"/>
                        <a:pt x="900038" y="994985"/>
                      </a:cubicBezTo>
                      <a:cubicBezTo>
                        <a:pt x="903607" y="992126"/>
                        <a:pt x="907176" y="989266"/>
                        <a:pt x="910745" y="986406"/>
                      </a:cubicBezTo>
                      <a:cubicBezTo>
                        <a:pt x="923592" y="975682"/>
                        <a:pt x="930730" y="969962"/>
                        <a:pt x="930730" y="969962"/>
                      </a:cubicBezTo>
                      <a:cubicBezTo>
                        <a:pt x="930730" y="969962"/>
                        <a:pt x="935013" y="969962"/>
                        <a:pt x="942150" y="969962"/>
                      </a:cubicBezTo>
                      <a:cubicBezTo>
                        <a:pt x="982835" y="971392"/>
                        <a:pt x="1124873" y="978542"/>
                        <a:pt x="1207669" y="1017149"/>
                      </a:cubicBezTo>
                      <a:cubicBezTo>
                        <a:pt x="1286182" y="1052897"/>
                        <a:pt x="1343283" y="1190882"/>
                        <a:pt x="1363268" y="1243789"/>
                      </a:cubicBezTo>
                      <a:cubicBezTo>
                        <a:pt x="1366837" y="1253798"/>
                        <a:pt x="1359700" y="1265237"/>
                        <a:pt x="1348279" y="1265237"/>
                      </a:cubicBezTo>
                      <a:cubicBezTo>
                        <a:pt x="1348279" y="1265237"/>
                        <a:pt x="1348279" y="1265237"/>
                        <a:pt x="96345" y="1265237"/>
                      </a:cubicBezTo>
                      <a:cubicBezTo>
                        <a:pt x="84924" y="1265237"/>
                        <a:pt x="77787" y="1253798"/>
                        <a:pt x="81356" y="1243789"/>
                      </a:cubicBezTo>
                      <a:cubicBezTo>
                        <a:pt x="101341" y="1190882"/>
                        <a:pt x="158442" y="1052897"/>
                        <a:pt x="236956" y="1017149"/>
                      </a:cubicBezTo>
                      <a:cubicBezTo>
                        <a:pt x="319752" y="978542"/>
                        <a:pt x="461790" y="971392"/>
                        <a:pt x="502474" y="969962"/>
                      </a:cubicBezTo>
                      <a:close/>
                      <a:moveTo>
                        <a:pt x="461962" y="736600"/>
                      </a:moveTo>
                      <a:cubicBezTo>
                        <a:pt x="461962" y="736600"/>
                        <a:pt x="461962" y="736600"/>
                        <a:pt x="496284" y="736600"/>
                      </a:cubicBezTo>
                      <a:cubicBezTo>
                        <a:pt x="520595" y="792846"/>
                        <a:pt x="547051" y="846955"/>
                        <a:pt x="559922" y="858347"/>
                      </a:cubicBezTo>
                      <a:cubicBezTo>
                        <a:pt x="562067" y="860483"/>
                        <a:pt x="564927" y="861907"/>
                        <a:pt x="567072" y="864043"/>
                      </a:cubicBezTo>
                      <a:cubicBezTo>
                        <a:pt x="574937" y="870450"/>
                        <a:pt x="584948" y="877570"/>
                        <a:pt x="595673" y="885402"/>
                      </a:cubicBezTo>
                      <a:cubicBezTo>
                        <a:pt x="634285" y="911033"/>
                        <a:pt x="687912" y="938800"/>
                        <a:pt x="721519" y="938800"/>
                      </a:cubicBezTo>
                      <a:cubicBezTo>
                        <a:pt x="755125" y="938800"/>
                        <a:pt x="808753" y="911033"/>
                        <a:pt x="847364" y="885402"/>
                      </a:cubicBezTo>
                      <a:cubicBezTo>
                        <a:pt x="858090" y="877570"/>
                        <a:pt x="868100" y="870450"/>
                        <a:pt x="875966" y="864043"/>
                      </a:cubicBezTo>
                      <a:cubicBezTo>
                        <a:pt x="878111" y="861907"/>
                        <a:pt x="880971" y="860483"/>
                        <a:pt x="883116" y="858347"/>
                      </a:cubicBezTo>
                      <a:cubicBezTo>
                        <a:pt x="895986" y="846955"/>
                        <a:pt x="922443" y="792846"/>
                        <a:pt x="946754" y="736600"/>
                      </a:cubicBezTo>
                      <a:cubicBezTo>
                        <a:pt x="946754" y="736600"/>
                        <a:pt x="946754" y="736600"/>
                        <a:pt x="981075" y="736600"/>
                      </a:cubicBezTo>
                      <a:cubicBezTo>
                        <a:pt x="961769" y="782878"/>
                        <a:pt x="936743" y="835564"/>
                        <a:pt x="918152" y="864043"/>
                      </a:cubicBezTo>
                      <a:cubicBezTo>
                        <a:pt x="915292" y="868315"/>
                        <a:pt x="912432" y="871874"/>
                        <a:pt x="910287" y="874722"/>
                      </a:cubicBezTo>
                      <a:cubicBezTo>
                        <a:pt x="910287" y="874722"/>
                        <a:pt x="910287" y="874722"/>
                        <a:pt x="910287" y="916728"/>
                      </a:cubicBezTo>
                      <a:cubicBezTo>
                        <a:pt x="910287" y="916728"/>
                        <a:pt x="910287" y="916728"/>
                        <a:pt x="910287" y="945919"/>
                      </a:cubicBezTo>
                      <a:cubicBezTo>
                        <a:pt x="908142" y="947343"/>
                        <a:pt x="896701" y="957311"/>
                        <a:pt x="878826" y="971550"/>
                      </a:cubicBezTo>
                      <a:lnTo>
                        <a:pt x="878826" y="939511"/>
                      </a:lnTo>
                      <a:cubicBezTo>
                        <a:pt x="878826" y="939511"/>
                        <a:pt x="878826" y="939511"/>
                        <a:pt x="878826" y="901065"/>
                      </a:cubicBezTo>
                      <a:cubicBezTo>
                        <a:pt x="869530" y="908185"/>
                        <a:pt x="858805" y="915305"/>
                        <a:pt x="847364" y="922424"/>
                      </a:cubicBezTo>
                      <a:cubicBezTo>
                        <a:pt x="807323" y="946631"/>
                        <a:pt x="757985" y="970126"/>
                        <a:pt x="721519" y="970126"/>
                      </a:cubicBezTo>
                      <a:cubicBezTo>
                        <a:pt x="685052" y="970126"/>
                        <a:pt x="635715" y="946631"/>
                        <a:pt x="595673" y="922424"/>
                      </a:cubicBezTo>
                      <a:cubicBezTo>
                        <a:pt x="584233" y="915305"/>
                        <a:pt x="573507" y="908185"/>
                        <a:pt x="564212" y="901065"/>
                      </a:cubicBezTo>
                      <a:cubicBezTo>
                        <a:pt x="564212" y="901065"/>
                        <a:pt x="564212" y="901065"/>
                        <a:pt x="564212" y="939511"/>
                      </a:cubicBezTo>
                      <a:cubicBezTo>
                        <a:pt x="564212" y="939511"/>
                        <a:pt x="564212" y="939511"/>
                        <a:pt x="564212" y="971550"/>
                      </a:cubicBezTo>
                      <a:cubicBezTo>
                        <a:pt x="547051" y="957311"/>
                        <a:pt x="534895" y="947343"/>
                        <a:pt x="532750" y="945919"/>
                      </a:cubicBezTo>
                      <a:cubicBezTo>
                        <a:pt x="532750" y="945919"/>
                        <a:pt x="532750" y="945919"/>
                        <a:pt x="532750" y="916728"/>
                      </a:cubicBezTo>
                      <a:cubicBezTo>
                        <a:pt x="532750" y="916728"/>
                        <a:pt x="532750" y="916728"/>
                        <a:pt x="532750" y="874722"/>
                      </a:cubicBezTo>
                      <a:cubicBezTo>
                        <a:pt x="530605" y="871874"/>
                        <a:pt x="527745" y="868315"/>
                        <a:pt x="524885" y="864043"/>
                      </a:cubicBezTo>
                      <a:cubicBezTo>
                        <a:pt x="506294" y="835564"/>
                        <a:pt x="481268" y="782878"/>
                        <a:pt x="461962" y="736600"/>
                      </a:cubicBezTo>
                      <a:close/>
                      <a:moveTo>
                        <a:pt x="195101" y="673100"/>
                      </a:moveTo>
                      <a:cubicBezTo>
                        <a:pt x="195101" y="673100"/>
                        <a:pt x="195101" y="673100"/>
                        <a:pt x="396526" y="673100"/>
                      </a:cubicBezTo>
                      <a:cubicBezTo>
                        <a:pt x="396526" y="673100"/>
                        <a:pt x="396526" y="673100"/>
                        <a:pt x="435810" y="673100"/>
                      </a:cubicBezTo>
                      <a:cubicBezTo>
                        <a:pt x="435810" y="673100"/>
                        <a:pt x="435810" y="673100"/>
                        <a:pt x="470095" y="673100"/>
                      </a:cubicBezTo>
                      <a:cubicBezTo>
                        <a:pt x="470095" y="673100"/>
                        <a:pt x="470095" y="673100"/>
                        <a:pt x="503666" y="673100"/>
                      </a:cubicBezTo>
                      <a:cubicBezTo>
                        <a:pt x="503666" y="673100"/>
                        <a:pt x="503666" y="673100"/>
                        <a:pt x="679377" y="673100"/>
                      </a:cubicBezTo>
                      <a:cubicBezTo>
                        <a:pt x="679377" y="673100"/>
                        <a:pt x="679377" y="673100"/>
                        <a:pt x="715090" y="673100"/>
                      </a:cubicBezTo>
                      <a:cubicBezTo>
                        <a:pt x="715090" y="673100"/>
                        <a:pt x="715090" y="673100"/>
                        <a:pt x="760804" y="673100"/>
                      </a:cubicBezTo>
                      <a:cubicBezTo>
                        <a:pt x="760804" y="673100"/>
                        <a:pt x="760804" y="673100"/>
                        <a:pt x="795803" y="673100"/>
                      </a:cubicBezTo>
                      <a:cubicBezTo>
                        <a:pt x="795803" y="673100"/>
                        <a:pt x="795803" y="673100"/>
                        <a:pt x="939371" y="673100"/>
                      </a:cubicBezTo>
                      <a:cubicBezTo>
                        <a:pt x="939371" y="673100"/>
                        <a:pt x="939371" y="673100"/>
                        <a:pt x="972942" y="673100"/>
                      </a:cubicBezTo>
                      <a:cubicBezTo>
                        <a:pt x="972942" y="673100"/>
                        <a:pt x="972942" y="673100"/>
                        <a:pt x="1007227" y="673100"/>
                      </a:cubicBezTo>
                      <a:cubicBezTo>
                        <a:pt x="1007227" y="673100"/>
                        <a:pt x="1007227" y="673100"/>
                        <a:pt x="1046512" y="673100"/>
                      </a:cubicBezTo>
                      <a:cubicBezTo>
                        <a:pt x="1046512" y="673100"/>
                        <a:pt x="1046512" y="673100"/>
                        <a:pt x="1247936" y="673100"/>
                      </a:cubicBezTo>
                      <a:cubicBezTo>
                        <a:pt x="1256507" y="673100"/>
                        <a:pt x="1263650" y="680316"/>
                        <a:pt x="1263650" y="688975"/>
                      </a:cubicBezTo>
                      <a:cubicBezTo>
                        <a:pt x="1263650" y="697634"/>
                        <a:pt x="1256507" y="704850"/>
                        <a:pt x="1247936" y="704850"/>
                      </a:cubicBezTo>
                      <a:cubicBezTo>
                        <a:pt x="1247936" y="704850"/>
                        <a:pt x="1247936" y="704850"/>
                        <a:pt x="1027941" y="704850"/>
                      </a:cubicBezTo>
                      <a:cubicBezTo>
                        <a:pt x="1027941" y="704850"/>
                        <a:pt x="1027941" y="704850"/>
                        <a:pt x="994370" y="704850"/>
                      </a:cubicBezTo>
                      <a:cubicBezTo>
                        <a:pt x="994370" y="704850"/>
                        <a:pt x="994370" y="704850"/>
                        <a:pt x="960085" y="704850"/>
                      </a:cubicBezTo>
                      <a:cubicBezTo>
                        <a:pt x="960085" y="704850"/>
                        <a:pt x="960085" y="704850"/>
                        <a:pt x="925800" y="704850"/>
                      </a:cubicBezTo>
                      <a:cubicBezTo>
                        <a:pt x="925800" y="704850"/>
                        <a:pt x="925800" y="704850"/>
                        <a:pt x="770089" y="704850"/>
                      </a:cubicBezTo>
                      <a:cubicBezTo>
                        <a:pt x="770089" y="704850"/>
                        <a:pt x="770089" y="704850"/>
                        <a:pt x="705805" y="704850"/>
                      </a:cubicBezTo>
                      <a:cubicBezTo>
                        <a:pt x="705805" y="704850"/>
                        <a:pt x="705805" y="704850"/>
                        <a:pt x="517237" y="704850"/>
                      </a:cubicBezTo>
                      <a:cubicBezTo>
                        <a:pt x="517237" y="704850"/>
                        <a:pt x="517237" y="704850"/>
                        <a:pt x="482952" y="704850"/>
                      </a:cubicBezTo>
                      <a:cubicBezTo>
                        <a:pt x="482952" y="704850"/>
                        <a:pt x="482952" y="704850"/>
                        <a:pt x="448667" y="704850"/>
                      </a:cubicBezTo>
                      <a:cubicBezTo>
                        <a:pt x="448667" y="704850"/>
                        <a:pt x="448667" y="704850"/>
                        <a:pt x="415097" y="704850"/>
                      </a:cubicBezTo>
                      <a:cubicBezTo>
                        <a:pt x="415097" y="704850"/>
                        <a:pt x="415097" y="704850"/>
                        <a:pt x="195101" y="704850"/>
                      </a:cubicBezTo>
                      <a:cubicBezTo>
                        <a:pt x="186530" y="704850"/>
                        <a:pt x="179387" y="697634"/>
                        <a:pt x="179387" y="688975"/>
                      </a:cubicBezTo>
                      <a:cubicBezTo>
                        <a:pt x="179387" y="680316"/>
                        <a:pt x="186530" y="673100"/>
                        <a:pt x="195101" y="673100"/>
                      </a:cubicBezTo>
                      <a:close/>
                      <a:moveTo>
                        <a:pt x="1062037" y="579437"/>
                      </a:moveTo>
                      <a:cubicBezTo>
                        <a:pt x="1062037" y="580140"/>
                        <a:pt x="1062037" y="580844"/>
                        <a:pt x="1062037" y="581548"/>
                      </a:cubicBezTo>
                      <a:cubicBezTo>
                        <a:pt x="1059901" y="594211"/>
                        <a:pt x="1054204" y="620243"/>
                        <a:pt x="1034263" y="641349"/>
                      </a:cubicBezTo>
                      <a:cubicBezTo>
                        <a:pt x="1034263" y="641349"/>
                        <a:pt x="1034263" y="641349"/>
                        <a:pt x="985837" y="641349"/>
                      </a:cubicBezTo>
                      <a:cubicBezTo>
                        <a:pt x="987262" y="637831"/>
                        <a:pt x="990110" y="635721"/>
                        <a:pt x="992959" y="633610"/>
                      </a:cubicBezTo>
                      <a:cubicBezTo>
                        <a:pt x="1010762" y="625167"/>
                        <a:pt x="1020733" y="609689"/>
                        <a:pt x="1025718" y="596322"/>
                      </a:cubicBezTo>
                      <a:cubicBezTo>
                        <a:pt x="1025718" y="596322"/>
                        <a:pt x="1025718" y="596322"/>
                        <a:pt x="1062037" y="579437"/>
                      </a:cubicBezTo>
                      <a:close/>
                      <a:moveTo>
                        <a:pt x="381000" y="579437"/>
                      </a:moveTo>
                      <a:cubicBezTo>
                        <a:pt x="381000" y="579437"/>
                        <a:pt x="381000" y="579437"/>
                        <a:pt x="417320" y="596322"/>
                      </a:cubicBezTo>
                      <a:cubicBezTo>
                        <a:pt x="422305" y="609689"/>
                        <a:pt x="432275" y="625167"/>
                        <a:pt x="450079" y="633610"/>
                      </a:cubicBezTo>
                      <a:cubicBezTo>
                        <a:pt x="452927" y="635721"/>
                        <a:pt x="455776" y="637831"/>
                        <a:pt x="457200" y="641349"/>
                      </a:cubicBezTo>
                      <a:cubicBezTo>
                        <a:pt x="457200" y="641349"/>
                        <a:pt x="457200" y="641349"/>
                        <a:pt x="408774" y="641349"/>
                      </a:cubicBezTo>
                      <a:cubicBezTo>
                        <a:pt x="390258" y="621650"/>
                        <a:pt x="383849" y="597729"/>
                        <a:pt x="381000" y="582955"/>
                      </a:cubicBezTo>
                      <a:cubicBezTo>
                        <a:pt x="381000" y="582251"/>
                        <a:pt x="381000" y="580844"/>
                        <a:pt x="381000" y="579437"/>
                      </a:cubicBezTo>
                      <a:close/>
                      <a:moveTo>
                        <a:pt x="1355615" y="0"/>
                      </a:moveTo>
                      <a:cubicBezTo>
                        <a:pt x="1355615" y="0"/>
                        <a:pt x="1355615" y="0"/>
                        <a:pt x="1427273" y="0"/>
                      </a:cubicBezTo>
                      <a:cubicBezTo>
                        <a:pt x="1435872" y="0"/>
                        <a:pt x="1443038" y="6449"/>
                        <a:pt x="1443038" y="15765"/>
                      </a:cubicBezTo>
                      <a:cubicBezTo>
                        <a:pt x="1443038" y="15765"/>
                        <a:pt x="1443038" y="15765"/>
                        <a:pt x="1443038" y="87422"/>
                      </a:cubicBezTo>
                      <a:cubicBezTo>
                        <a:pt x="1443038" y="96021"/>
                        <a:pt x="1435872" y="103187"/>
                        <a:pt x="1427273" y="103187"/>
                      </a:cubicBezTo>
                      <a:cubicBezTo>
                        <a:pt x="1418674" y="103187"/>
                        <a:pt x="1411509" y="96021"/>
                        <a:pt x="1411509" y="87422"/>
                      </a:cubicBezTo>
                      <a:cubicBezTo>
                        <a:pt x="1411509" y="87422"/>
                        <a:pt x="1411509" y="87422"/>
                        <a:pt x="1411509" y="31529"/>
                      </a:cubicBezTo>
                      <a:cubicBezTo>
                        <a:pt x="1411509" y="31529"/>
                        <a:pt x="1411509" y="31529"/>
                        <a:pt x="1355615" y="31529"/>
                      </a:cubicBezTo>
                      <a:cubicBezTo>
                        <a:pt x="1347016" y="31529"/>
                        <a:pt x="1339850" y="24363"/>
                        <a:pt x="1339850" y="15765"/>
                      </a:cubicBezTo>
                      <a:cubicBezTo>
                        <a:pt x="1339850" y="6449"/>
                        <a:pt x="1347016" y="0"/>
                        <a:pt x="1355615" y="0"/>
                      </a:cubicBezTo>
                      <a:close/>
                      <a:moveTo>
                        <a:pt x="15765" y="0"/>
                      </a:moveTo>
                      <a:cubicBezTo>
                        <a:pt x="15765" y="0"/>
                        <a:pt x="15765" y="0"/>
                        <a:pt x="87423" y="0"/>
                      </a:cubicBezTo>
                      <a:cubicBezTo>
                        <a:pt x="96022" y="0"/>
                        <a:pt x="103188" y="6449"/>
                        <a:pt x="103188" y="15765"/>
                      </a:cubicBezTo>
                      <a:cubicBezTo>
                        <a:pt x="103188" y="24363"/>
                        <a:pt x="96022" y="31529"/>
                        <a:pt x="87423" y="31529"/>
                      </a:cubicBezTo>
                      <a:cubicBezTo>
                        <a:pt x="87423" y="31529"/>
                        <a:pt x="87423" y="31529"/>
                        <a:pt x="31529" y="31529"/>
                      </a:cubicBezTo>
                      <a:cubicBezTo>
                        <a:pt x="31529" y="31529"/>
                        <a:pt x="31529" y="31529"/>
                        <a:pt x="31529" y="87422"/>
                      </a:cubicBezTo>
                      <a:cubicBezTo>
                        <a:pt x="31529" y="96021"/>
                        <a:pt x="24364" y="103187"/>
                        <a:pt x="15765" y="103187"/>
                      </a:cubicBezTo>
                      <a:cubicBezTo>
                        <a:pt x="7166" y="103187"/>
                        <a:pt x="0" y="96021"/>
                        <a:pt x="0" y="87422"/>
                      </a:cubicBezTo>
                      <a:cubicBezTo>
                        <a:pt x="0" y="87422"/>
                        <a:pt x="0" y="87422"/>
                        <a:pt x="0" y="15765"/>
                      </a:cubicBezTo>
                      <a:cubicBezTo>
                        <a:pt x="0" y="6449"/>
                        <a:pt x="7166" y="0"/>
                        <a:pt x="157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6" name="Group 5">
            <a:extLst>
              <a:ext uri="{FF2B5EF4-FFF2-40B4-BE49-F238E27FC236}">
                <a16:creationId xmlns:a16="http://schemas.microsoft.com/office/drawing/2014/main" id="{2A609667-AC0A-43EA-84F3-20B80F357E2E}"/>
              </a:ext>
            </a:extLst>
          </p:cNvPr>
          <p:cNvGrpSpPr/>
          <p:nvPr/>
        </p:nvGrpSpPr>
        <p:grpSpPr>
          <a:xfrm>
            <a:off x="-1" y="3856967"/>
            <a:ext cx="3361060" cy="738663"/>
            <a:chOff x="-1" y="4524320"/>
            <a:chExt cx="3361060" cy="738663"/>
          </a:xfrm>
        </p:grpSpPr>
        <p:sp>
          <p:nvSpPr>
            <p:cNvPr id="86" name="Rectangle: Top Corners Rounded 85">
              <a:extLst>
                <a:ext uri="{FF2B5EF4-FFF2-40B4-BE49-F238E27FC236}">
                  <a16:creationId xmlns:a16="http://schemas.microsoft.com/office/drawing/2014/main" id="{F0B5F40D-FA14-4714-8D9C-480D150952FC}"/>
                </a:ext>
              </a:extLst>
            </p:cNvPr>
            <p:cNvSpPr/>
            <p:nvPr/>
          </p:nvSpPr>
          <p:spPr>
            <a:xfrm rot="5400000">
              <a:off x="1311197" y="3213122"/>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ee4pHeader1">
              <a:extLst>
                <a:ext uri="{FF2B5EF4-FFF2-40B4-BE49-F238E27FC236}">
                  <a16:creationId xmlns:a16="http://schemas.microsoft.com/office/drawing/2014/main" id="{1900F7C8-2A33-4B87-A5E1-8965C19FFCAA}"/>
                </a:ext>
              </a:extLst>
            </p:cNvPr>
            <p:cNvSpPr txBox="1"/>
            <p:nvPr/>
          </p:nvSpPr>
          <p:spPr>
            <a:xfrm>
              <a:off x="288478" y="4616653"/>
              <a:ext cx="2923073" cy="553998"/>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Examples of groups included</a:t>
              </a:r>
            </a:p>
          </p:txBody>
        </p:sp>
        <p:grpSp>
          <p:nvGrpSpPr>
            <p:cNvPr id="101" name="Group 100">
              <a:extLst>
                <a:ext uri="{FF2B5EF4-FFF2-40B4-BE49-F238E27FC236}">
                  <a16:creationId xmlns:a16="http://schemas.microsoft.com/office/drawing/2014/main" id="{1AF14117-6F88-4154-BFF3-2219783A1695}"/>
                </a:ext>
              </a:extLst>
            </p:cNvPr>
            <p:cNvGrpSpPr>
              <a:grpSpLocks noChangeAspect="1"/>
            </p:cNvGrpSpPr>
            <p:nvPr/>
          </p:nvGrpSpPr>
          <p:grpSpPr>
            <a:xfrm>
              <a:off x="318694" y="4670465"/>
              <a:ext cx="446374" cy="446374"/>
              <a:chOff x="5273803" y="2606803"/>
              <a:chExt cx="1645920" cy="1645920"/>
            </a:xfrm>
          </p:grpSpPr>
          <p:sp>
            <p:nvSpPr>
              <p:cNvPr id="102" name="AutoShape 23">
                <a:extLst>
                  <a:ext uri="{FF2B5EF4-FFF2-40B4-BE49-F238E27FC236}">
                    <a16:creationId xmlns:a16="http://schemas.microsoft.com/office/drawing/2014/main" id="{7630774B-CB81-479D-9A67-4B2FC9F6E7CB}"/>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 name="Group 102">
                <a:extLst>
                  <a:ext uri="{FF2B5EF4-FFF2-40B4-BE49-F238E27FC236}">
                    <a16:creationId xmlns:a16="http://schemas.microsoft.com/office/drawing/2014/main" id="{114F7EA7-BB53-4E98-A007-29320C0446B2}"/>
                  </a:ext>
                </a:extLst>
              </p:cNvPr>
              <p:cNvGrpSpPr/>
              <p:nvPr/>
            </p:nvGrpSpPr>
            <p:grpSpPr>
              <a:xfrm>
                <a:off x="5484691" y="2758822"/>
                <a:ext cx="1224143" cy="1341882"/>
                <a:chOff x="5355525" y="2801969"/>
                <a:chExt cx="1522662" cy="1670659"/>
              </a:xfrm>
            </p:grpSpPr>
            <p:sp>
              <p:nvSpPr>
                <p:cNvPr id="104" name="Freeform 25">
                  <a:extLst>
                    <a:ext uri="{FF2B5EF4-FFF2-40B4-BE49-F238E27FC236}">
                      <a16:creationId xmlns:a16="http://schemas.microsoft.com/office/drawing/2014/main" id="{1343874D-15A1-4D14-B928-191F3E20AB8A}"/>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6">
                  <a:extLst>
                    <a:ext uri="{FF2B5EF4-FFF2-40B4-BE49-F238E27FC236}">
                      <a16:creationId xmlns:a16="http://schemas.microsoft.com/office/drawing/2014/main" id="{1F520F48-9F60-4615-8CC9-670C9D4A90C8}"/>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112" name="Straight Connector 111">
            <a:extLst>
              <a:ext uri="{FF2B5EF4-FFF2-40B4-BE49-F238E27FC236}">
                <a16:creationId xmlns:a16="http://schemas.microsoft.com/office/drawing/2014/main" id="{E8F8A99A-CD35-431F-87D4-BD8DC2CCB6B2}"/>
              </a:ext>
            </a:extLst>
          </p:cNvPr>
          <p:cNvCxnSpPr/>
          <p:nvPr/>
        </p:nvCxnSpPr>
        <p:spPr>
          <a:xfrm>
            <a:off x="3450927" y="3711904"/>
            <a:ext cx="8452596"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BD4FAB15-8ED9-4540-B46C-5B5344B9EAD5}"/>
              </a:ext>
            </a:extLst>
          </p:cNvPr>
          <p:cNvCxnSpPr/>
          <p:nvPr/>
        </p:nvCxnSpPr>
        <p:spPr>
          <a:xfrm>
            <a:off x="3433824" y="2175285"/>
            <a:ext cx="8452596"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E2AA3201-C802-4815-A704-B80A7FCAD1F1}"/>
              </a:ext>
            </a:extLst>
          </p:cNvPr>
          <p:cNvGrpSpPr/>
          <p:nvPr/>
        </p:nvGrpSpPr>
        <p:grpSpPr>
          <a:xfrm>
            <a:off x="-1" y="1445447"/>
            <a:ext cx="3361060" cy="738664"/>
            <a:chOff x="-1" y="1445448"/>
            <a:chExt cx="3361060" cy="738664"/>
          </a:xfrm>
        </p:grpSpPr>
        <p:sp>
          <p:nvSpPr>
            <p:cNvPr id="42" name="Rectangle: Top Corners Rounded 41">
              <a:extLst>
                <a:ext uri="{FF2B5EF4-FFF2-40B4-BE49-F238E27FC236}">
                  <a16:creationId xmlns:a16="http://schemas.microsoft.com/office/drawing/2014/main" id="{94F9F637-F582-47FB-A908-5069FF9E0452}"/>
                </a:ext>
              </a:extLst>
            </p:cNvPr>
            <p:cNvSpPr/>
            <p:nvPr/>
          </p:nvSpPr>
          <p:spPr>
            <a:xfrm rot="5400000">
              <a:off x="1311197" y="13425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4" name="ee4pHeader1">
              <a:extLst>
                <a:ext uri="{FF2B5EF4-FFF2-40B4-BE49-F238E27FC236}">
                  <a16:creationId xmlns:a16="http://schemas.microsoft.com/office/drawing/2014/main" id="{B3727ECE-C03E-4231-A9CA-70707E84655F}"/>
                </a:ext>
              </a:extLst>
            </p:cNvPr>
            <p:cNvSpPr txBox="1"/>
            <p:nvPr/>
          </p:nvSpPr>
          <p:spPr>
            <a:xfrm>
              <a:off x="288478" y="1445448"/>
              <a:ext cx="2923073" cy="738664"/>
            </a:xfrm>
            <a:prstGeom prst="rect">
              <a:avLst/>
            </a:prstGeom>
            <a:noFill/>
            <a:ln cap="rnd">
              <a:noFill/>
            </a:ln>
          </p:spPr>
          <p:txBody>
            <a:bodyPr vert="horz" wrap="square" lIns="640080" tIns="0" rIns="0" bIns="0" rtlCol="0" anchor="ctr" anchorCtr="0">
              <a:noAutofit/>
            </a:bodyPr>
            <a:lstStyle/>
            <a:p>
              <a:pPr marL="0" lvl="3"/>
              <a:r>
                <a:rPr lang="en-US" dirty="0">
                  <a:solidFill>
                    <a:srgbClr val="FFFFFF"/>
                  </a:solidFill>
                  <a:latin typeface="+mj-lt"/>
                  <a:cs typeface="Calibri" panose="020F0502020204030204" pitchFamily="34" charset="0"/>
                </a:rPr>
                <a:t>Definition </a:t>
              </a:r>
            </a:p>
          </p:txBody>
        </p:sp>
      </p:grpSp>
      <p:grpSp>
        <p:nvGrpSpPr>
          <p:cNvPr id="45" name="Group 44">
            <a:extLst>
              <a:ext uri="{FF2B5EF4-FFF2-40B4-BE49-F238E27FC236}">
                <a16:creationId xmlns:a16="http://schemas.microsoft.com/office/drawing/2014/main" id="{77B9CDE2-4781-4432-BD0E-BAE8A01CF6DA}"/>
              </a:ext>
            </a:extLst>
          </p:cNvPr>
          <p:cNvGrpSpPr>
            <a:grpSpLocks noChangeAspect="1"/>
          </p:cNvGrpSpPr>
          <p:nvPr/>
        </p:nvGrpSpPr>
        <p:grpSpPr>
          <a:xfrm>
            <a:off x="318702" y="1591593"/>
            <a:ext cx="446806" cy="446374"/>
            <a:chOff x="5273675" y="2606675"/>
            <a:chExt cx="1646238" cy="1644650"/>
          </a:xfrm>
        </p:grpSpPr>
        <p:sp>
          <p:nvSpPr>
            <p:cNvPr id="46" name="AutoShape 3">
              <a:extLst>
                <a:ext uri="{FF2B5EF4-FFF2-40B4-BE49-F238E27FC236}">
                  <a16:creationId xmlns:a16="http://schemas.microsoft.com/office/drawing/2014/main" id="{4CDB69C6-FFA2-44C0-9F0B-EB65547D2257}"/>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 name="Group 46">
              <a:extLst>
                <a:ext uri="{FF2B5EF4-FFF2-40B4-BE49-F238E27FC236}">
                  <a16:creationId xmlns:a16="http://schemas.microsoft.com/office/drawing/2014/main" id="{AC4BDFE8-A893-4107-AF2B-A79C73997B94}"/>
                </a:ext>
              </a:extLst>
            </p:cNvPr>
            <p:cNvGrpSpPr/>
            <p:nvPr/>
          </p:nvGrpSpPr>
          <p:grpSpPr>
            <a:xfrm>
              <a:off x="5651500" y="2971800"/>
              <a:ext cx="892175" cy="1109663"/>
              <a:chOff x="5651500" y="2971800"/>
              <a:chExt cx="892175" cy="1109663"/>
            </a:xfrm>
          </p:grpSpPr>
          <p:sp>
            <p:nvSpPr>
              <p:cNvPr id="48" name="Freeform 20">
                <a:extLst>
                  <a:ext uri="{FF2B5EF4-FFF2-40B4-BE49-F238E27FC236}">
                    <a16:creationId xmlns:a16="http://schemas.microsoft.com/office/drawing/2014/main" id="{C6556554-C8DF-4C73-8075-CBDCFBA53FE3}"/>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0" name="Freeform 21">
                <a:extLst>
                  <a:ext uri="{FF2B5EF4-FFF2-40B4-BE49-F238E27FC236}">
                    <a16:creationId xmlns:a16="http://schemas.microsoft.com/office/drawing/2014/main" id="{02D2ECE1-C586-415E-8F4A-74E0EB0E3219}"/>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5" name="ee4pFootnotes">
            <a:extLst>
              <a:ext uri="{FF2B5EF4-FFF2-40B4-BE49-F238E27FC236}">
                <a16:creationId xmlns:a16="http://schemas.microsoft.com/office/drawing/2014/main" id="{85BCB5CA-2855-4528-93C1-1C847753F69D}"/>
              </a:ext>
            </a:extLst>
          </p:cNvPr>
          <p:cNvSpPr>
            <a:spLocks noChangeArrowheads="1"/>
          </p:cNvSpPr>
          <p:nvPr/>
        </p:nvSpPr>
        <p:spPr bwMode="auto">
          <a:xfrm>
            <a:off x="288478" y="6467658"/>
            <a:ext cx="11615045"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1- As defined by the </a:t>
            </a:r>
            <a:r>
              <a:rPr lang="en-US" sz="1000" dirty="0">
                <a:solidFill>
                  <a:srgbClr val="000000"/>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xmlns="" val="tx"/>
                    </a:ext>
                  </a:extLst>
                </a:hlinkClick>
              </a:rPr>
              <a:t>Department of Homeland Security</a:t>
            </a:r>
            <a:endParaRPr lang="en-US" sz="1000" dirty="0">
              <a:solidFill>
                <a:srgbClr val="000000"/>
              </a:solidFill>
              <a:latin typeface="Calibri" panose="020F0502020204030204" pitchFamily="34" charset="0"/>
              <a:sym typeface="+mn-lt"/>
            </a:endParaRPr>
          </a:p>
          <a:p>
            <a:pPr>
              <a:lnSpc>
                <a:spcPct val="90000"/>
              </a:lnSpc>
            </a:pPr>
            <a:r>
              <a:rPr lang="en-US" sz="1000" dirty="0">
                <a:solidFill>
                  <a:srgbClr val="000000"/>
                </a:solidFill>
                <a:latin typeface="Calibri" panose="020F0502020204030204" pitchFamily="34" charset="0"/>
                <a:sym typeface="+mn-lt"/>
              </a:rPr>
              <a:t>Sources: DHS </a:t>
            </a:r>
            <a:r>
              <a:rPr lang="en-US" sz="1000" dirty="0" err="1">
                <a:solidFill>
                  <a:srgbClr val="000000"/>
                </a:solidFill>
                <a:latin typeface="Calibri" panose="020F0502020204030204" pitchFamily="34" charset="0"/>
                <a:sym typeface="+mn-lt"/>
              </a:rPr>
              <a:t>CISA</a:t>
            </a:r>
            <a:r>
              <a:rPr lang="en-US" sz="1000" dirty="0">
                <a:solidFill>
                  <a:srgbClr val="000000"/>
                </a:solidFill>
                <a:latin typeface="Calibri" panose="020F0502020204030204" pitchFamily="34" charset="0"/>
                <a:sym typeface="+mn-lt"/>
              </a:rPr>
              <a:t>; The Advisory Committee on Immunization Practices’ Updated Interim Recommendation for Allocation of COVID-19 Vaccine,United States, December 2020</a:t>
            </a:r>
          </a:p>
        </p:txBody>
      </p:sp>
    </p:spTree>
    <p:extLst>
      <p:ext uri="{BB962C8B-B14F-4D97-AF65-F5344CB8AC3E}">
        <p14:creationId xmlns:p14="http://schemas.microsoft.com/office/powerpoint/2010/main" val="408031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4300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5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01C74C-AE5C-42D9-83A5-8116109103C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721619"/>
            <a:ext cx="11615045" cy="332399"/>
          </a:xfrm>
          <a:prstGeom prst="rect">
            <a:avLst/>
          </a:prstGeom>
        </p:spPr>
        <p:txBody>
          <a:bodyPr>
            <a:spAutoFit/>
          </a:bodyPr>
          <a:lstStyle/>
          <a:p>
            <a:r>
              <a:rPr lang="en-US" dirty="0">
                <a:solidFill>
                  <a:schemeClr val="accent6"/>
                </a:solidFill>
              </a:rPr>
              <a:t>Phase 2 | </a:t>
            </a:r>
            <a:r>
              <a:rPr lang="en-US" dirty="0"/>
              <a:t>Congregate settings: identifying characteristics and working definition </a:t>
            </a:r>
          </a:p>
        </p:txBody>
      </p:sp>
      <p:sp>
        <p:nvSpPr>
          <p:cNvPr id="24" name="ee4pHeader1">
            <a:extLst>
              <a:ext uri="{FF2B5EF4-FFF2-40B4-BE49-F238E27FC236}">
                <a16:creationId xmlns:a16="http://schemas.microsoft.com/office/drawing/2014/main" id="{5BD9B3A2-A7C5-43DA-B99F-C233B960B821}"/>
              </a:ext>
            </a:extLst>
          </p:cNvPr>
          <p:cNvSpPr txBox="1"/>
          <p:nvPr/>
        </p:nvSpPr>
        <p:spPr>
          <a:xfrm>
            <a:off x="3602381" y="2485542"/>
            <a:ext cx="8301141" cy="2154436"/>
          </a:xfrm>
          <a:prstGeom prst="rect">
            <a:avLst/>
          </a:prstGeom>
          <a:noFill/>
          <a:ln cap="rnd">
            <a:noFill/>
          </a:ln>
        </p:spPr>
        <p:txBody>
          <a:bodyPr vert="horz" wrap="square" lIns="0" tIns="0" rIns="0" bIns="0" rtlCol="0" anchor="t" anchorCtr="0">
            <a:spAutoFit/>
          </a:bodyPr>
          <a:lstStyle/>
          <a:p>
            <a:pPr marL="432000" lvl="1" indent="-288000">
              <a:buClr>
                <a:srgbClr val="051934"/>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cs typeface="Calibri" panose="020F0502020204030204" pitchFamily="34" charset="0"/>
              </a:rPr>
              <a:t>Licensed congregate settings are facilities licensed by the state </a:t>
            </a:r>
            <a:r>
              <a:rPr lang="en-US" sz="1400" dirty="0">
                <a:solidFill>
                  <a:srgbClr val="051934"/>
                </a:solidFill>
                <a:latin typeface="Calibri" panose="020F0502020204030204" pitchFamily="34" charset="0"/>
                <a:cs typeface="Calibri" panose="020F0502020204030204" pitchFamily="34" charset="0"/>
              </a:rPr>
              <a:t>or local government, that provide housing or care arrangements and where social distancing is not possible;</a:t>
            </a:r>
            <a:r>
              <a:rPr lang="en-US" sz="1400" dirty="0">
                <a:solidFill>
                  <a:srgbClr val="051934"/>
                </a:solidFill>
                <a:latin typeface="Calibri" panose="020F0502020204030204" pitchFamily="34" charset="0"/>
              </a:rPr>
              <a:t> they provide a form of social service or healthcare (or healthcare-associated) service</a:t>
            </a:r>
          </a:p>
          <a:p>
            <a:pPr marL="432000" lvl="1" indent="-288000">
              <a:buClr>
                <a:srgbClr val="051934"/>
              </a:buClr>
              <a:buSzPct val="100000"/>
              <a:buFont typeface="Trebuchet MS" panose="020B0603020202020204" pitchFamily="34" charset="0"/>
              <a:buChar char="•"/>
            </a:pPr>
            <a:r>
              <a:rPr lang="en-US" sz="1400" dirty="0">
                <a:solidFill>
                  <a:srgbClr val="051934"/>
                </a:solidFill>
                <a:latin typeface="Calibri" panose="020F0502020204030204" pitchFamily="34" charset="0"/>
              </a:rPr>
              <a:t>Settings included in this phase are monitored by the state or the local governme</a:t>
            </a:r>
            <a:r>
              <a:rPr lang="en-US" sz="1400" dirty="0">
                <a:solidFill>
                  <a:srgbClr val="000000"/>
                </a:solidFill>
                <a:latin typeface="Calibri" panose="020F0502020204030204" pitchFamily="34" charset="0"/>
              </a:rPr>
              <a:t>nt, or house vulnerable populations under care, e.g. in-home care and retirement facilities</a:t>
            </a:r>
          </a:p>
          <a:p>
            <a:pPr marL="432000" lvl="1"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rPr>
              <a:t>Risk is increased because of:</a:t>
            </a:r>
            <a:endParaRPr lang="en-US" sz="1400" dirty="0">
              <a:solidFill>
                <a:srgbClr val="000000"/>
              </a:solidFill>
              <a:latin typeface="Calibri" panose="020F0502020204030204" pitchFamily="34" charset="0"/>
              <a:cs typeface="Calibri" panose="020F0502020204030204" pitchFamily="34" charset="0"/>
            </a:endParaRPr>
          </a:p>
          <a:p>
            <a:pPr marL="864000" lvl="2"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Proximity, i.e., residents and staff are less than 6ft away from one another</a:t>
            </a:r>
          </a:p>
          <a:p>
            <a:pPr marL="864000" lvl="2"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Type of contact, i.e., exposure to droplets, shared surfaces, common items</a:t>
            </a:r>
          </a:p>
          <a:p>
            <a:pPr marL="864000" lvl="2"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Duration, i.e., average interactions last more than 10 min</a:t>
            </a:r>
          </a:p>
          <a:p>
            <a:pPr marL="864000" lvl="2" indent="-288000">
              <a:buClr>
                <a:srgbClr val="051934"/>
              </a:buCl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Potentially high number of contacts and, sometimes,  difficulties to implement protective measures</a:t>
            </a:r>
            <a:endParaRPr lang="en-US" sz="1400" dirty="0">
              <a:solidFill>
                <a:srgbClr val="000000">
                  <a:lumMod val="100000"/>
                </a:srgbClr>
              </a:solidFill>
              <a:latin typeface="Calibri" panose="020F0502020204030204" pitchFamily="34" charset="0"/>
            </a:endParaRPr>
          </a:p>
        </p:txBody>
      </p:sp>
      <p:sp>
        <p:nvSpPr>
          <p:cNvPr id="37" name="ee4pHeader1">
            <a:extLst>
              <a:ext uri="{FF2B5EF4-FFF2-40B4-BE49-F238E27FC236}">
                <a16:creationId xmlns:a16="http://schemas.microsoft.com/office/drawing/2014/main" id="{99576483-DC11-4253-A79D-8030C41DDDB7}"/>
              </a:ext>
            </a:extLst>
          </p:cNvPr>
          <p:cNvSpPr txBox="1"/>
          <p:nvPr/>
        </p:nvSpPr>
        <p:spPr>
          <a:xfrm>
            <a:off x="3602381" y="1707058"/>
            <a:ext cx="8301141" cy="215444"/>
          </a:xfrm>
          <a:prstGeom prst="rect">
            <a:avLst/>
          </a:prstGeom>
          <a:noFill/>
          <a:ln cap="rnd">
            <a:noFill/>
          </a:ln>
        </p:spPr>
        <p:txBody>
          <a:bodyPr vert="horz" wrap="square" lIns="0" tIns="0" rIns="0" bIns="0" rtlCol="0" anchor="ctr" anchorCtr="0">
            <a:spAutoFit/>
          </a:bodyPr>
          <a:lstStyle/>
          <a:p>
            <a:pPr>
              <a:buSzPct val="100000"/>
            </a:pPr>
            <a:r>
              <a:rPr lang="en-US" sz="1400" dirty="0">
                <a:solidFill>
                  <a:srgbClr val="000000">
                    <a:lumMod val="100000"/>
                  </a:srgbClr>
                </a:solidFill>
                <a:latin typeface="Calibri" panose="020F0502020204030204" pitchFamily="34" charset="0"/>
                <a:cs typeface="Calibri" panose="020F0502020204030204" pitchFamily="34" charset="0"/>
              </a:rPr>
              <a:t>Anyone living or working in licensed congregate settings and other special care or congregate environments</a:t>
            </a:r>
          </a:p>
        </p:txBody>
      </p:sp>
      <p:sp>
        <p:nvSpPr>
          <p:cNvPr id="43" name="TextBox 42">
            <a:extLst>
              <a:ext uri="{FF2B5EF4-FFF2-40B4-BE49-F238E27FC236}">
                <a16:creationId xmlns:a16="http://schemas.microsoft.com/office/drawing/2014/main" id="{7A252306-3D77-40FD-9AB8-1540045624C6}"/>
              </a:ext>
            </a:extLst>
          </p:cNvPr>
          <p:cNvSpPr txBox="1"/>
          <p:nvPr/>
        </p:nvSpPr>
        <p:spPr>
          <a:xfrm>
            <a:off x="3602381" y="4660141"/>
            <a:ext cx="8301140" cy="17235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Homeless shelters and other homeless housing settings and dwelling place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ongregate childcare institutions, adult and child protective service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Emergency shelters or safe houses for victims of domestic violence</a:t>
            </a:r>
            <a:endParaRPr lang="en-US" sz="1400" i="1" dirty="0">
              <a:solidFill>
                <a:srgbClr val="000000">
                  <a:lumMod val="100000"/>
                </a:srgbClr>
              </a:solidFill>
              <a:latin typeface="Calibri" panose="020F0502020204030204" pitchFamily="34" charset="0"/>
            </a:endParaRP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orrections facilities, </a:t>
            </a:r>
            <a:r>
              <a:rPr lang="en-US" sz="1400" dirty="0">
                <a:solidFill>
                  <a:srgbClr val="000000"/>
                </a:solidFill>
                <a:latin typeface="Calibri" panose="020F0502020204030204" pitchFamily="34" charset="0"/>
              </a:rPr>
              <a:t>including jails and juvenile </a:t>
            </a:r>
            <a:r>
              <a:rPr lang="en-US" sz="1400" dirty="0">
                <a:solidFill>
                  <a:srgbClr val="000000">
                    <a:lumMod val="100000"/>
                  </a:srgbClr>
                </a:solidFill>
                <a:latin typeface="Calibri" panose="020F0502020204030204" pitchFamily="34" charset="0"/>
              </a:rPr>
              <a:t>justice facilitie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Behavioral Health institutions (including mental health institutions) and residential treatment center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Adult care homes, residents and staff in home plus facilities not covered in phase 1</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Senior living homes</a:t>
            </a:r>
          </a:p>
          <a:p>
            <a:pPr marL="432000" lvl="1" indent="-288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Home care givers (paid or unpaid), personal care aides</a:t>
            </a:r>
          </a:p>
        </p:txBody>
      </p:sp>
      <p:grpSp>
        <p:nvGrpSpPr>
          <p:cNvPr id="91" name="Group 90">
            <a:extLst>
              <a:ext uri="{FF2B5EF4-FFF2-40B4-BE49-F238E27FC236}">
                <a16:creationId xmlns:a16="http://schemas.microsoft.com/office/drawing/2014/main" id="{771E4D09-8242-418A-A77C-3BFE464A011E}"/>
              </a:ext>
            </a:extLst>
          </p:cNvPr>
          <p:cNvGrpSpPr>
            <a:grpSpLocks noChangeAspect="1"/>
          </p:cNvGrpSpPr>
          <p:nvPr/>
        </p:nvGrpSpPr>
        <p:grpSpPr>
          <a:xfrm>
            <a:off x="318694" y="3542669"/>
            <a:ext cx="446378" cy="446374"/>
            <a:chOff x="5272330" y="2605278"/>
            <a:chExt cx="1645920" cy="1645920"/>
          </a:xfrm>
        </p:grpSpPr>
        <p:sp>
          <p:nvSpPr>
            <p:cNvPr id="92" name="AutoShape 3">
              <a:extLst>
                <a:ext uri="{FF2B5EF4-FFF2-40B4-BE49-F238E27FC236}">
                  <a16:creationId xmlns:a16="http://schemas.microsoft.com/office/drawing/2014/main" id="{066F34F1-F328-4FFC-814B-6FB4CD095263}"/>
                </a:ext>
              </a:extLst>
            </p:cNvPr>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3" name="Group 92">
              <a:extLst>
                <a:ext uri="{FF2B5EF4-FFF2-40B4-BE49-F238E27FC236}">
                  <a16:creationId xmlns:a16="http://schemas.microsoft.com/office/drawing/2014/main" id="{0A7DD9B1-F129-4CA2-B21E-163D6B71F93C}"/>
                </a:ext>
              </a:extLst>
            </p:cNvPr>
            <p:cNvGrpSpPr/>
            <p:nvPr/>
          </p:nvGrpSpPr>
          <p:grpSpPr>
            <a:xfrm>
              <a:off x="5424297" y="2880360"/>
              <a:ext cx="1341986" cy="1095756"/>
              <a:chOff x="5424297" y="2880360"/>
              <a:chExt cx="1341986" cy="1095756"/>
            </a:xfrm>
          </p:grpSpPr>
          <p:sp>
            <p:nvSpPr>
              <p:cNvPr id="94" name="Freeform 25">
                <a:extLst>
                  <a:ext uri="{FF2B5EF4-FFF2-40B4-BE49-F238E27FC236}">
                    <a16:creationId xmlns:a16="http://schemas.microsoft.com/office/drawing/2014/main" id="{7118258F-0956-4372-BDCD-592485673A4C}"/>
                  </a:ext>
                </a:extLst>
              </p:cNvPr>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5" name="Freeform 26">
                <a:extLst>
                  <a:ext uri="{FF2B5EF4-FFF2-40B4-BE49-F238E27FC236}">
                    <a16:creationId xmlns:a16="http://schemas.microsoft.com/office/drawing/2014/main" id="{C9081F22-C4F9-4E90-9FD8-58ED7016C6D5}"/>
                  </a:ext>
                </a:extLst>
              </p:cNvPr>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 name="Group 8">
            <a:extLst>
              <a:ext uri="{FF2B5EF4-FFF2-40B4-BE49-F238E27FC236}">
                <a16:creationId xmlns:a16="http://schemas.microsoft.com/office/drawing/2014/main" id="{C236AB66-054F-4550-9988-041A902D7274}"/>
              </a:ext>
            </a:extLst>
          </p:cNvPr>
          <p:cNvGrpSpPr/>
          <p:nvPr/>
        </p:nvGrpSpPr>
        <p:grpSpPr>
          <a:xfrm>
            <a:off x="-1" y="3085706"/>
            <a:ext cx="3361060" cy="738663"/>
            <a:chOff x="-1" y="3112828"/>
            <a:chExt cx="3361060" cy="738663"/>
          </a:xfrm>
        </p:grpSpPr>
        <p:sp>
          <p:nvSpPr>
            <p:cNvPr id="84" name="Rectangle: Top Corners Rounded 83">
              <a:extLst>
                <a:ext uri="{FF2B5EF4-FFF2-40B4-BE49-F238E27FC236}">
                  <a16:creationId xmlns:a16="http://schemas.microsoft.com/office/drawing/2014/main" id="{0C173FF0-8913-4568-BB91-FA2486E67040}"/>
                </a:ext>
              </a:extLst>
            </p:cNvPr>
            <p:cNvSpPr/>
            <p:nvPr/>
          </p:nvSpPr>
          <p:spPr>
            <a:xfrm rot="5400000">
              <a:off x="1311197" y="180163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7" name="ee4pHeader1">
              <a:extLst>
                <a:ext uri="{FF2B5EF4-FFF2-40B4-BE49-F238E27FC236}">
                  <a16:creationId xmlns:a16="http://schemas.microsoft.com/office/drawing/2014/main" id="{5C2CC77A-E351-4906-A254-0267BB6266B1}"/>
                </a:ext>
              </a:extLst>
            </p:cNvPr>
            <p:cNvSpPr txBox="1"/>
            <p:nvPr/>
          </p:nvSpPr>
          <p:spPr>
            <a:xfrm>
              <a:off x="288478" y="3343661"/>
              <a:ext cx="2923073" cy="276999"/>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Description</a:t>
              </a:r>
              <a:endParaRPr lang="en-US" dirty="0">
                <a:solidFill>
                  <a:srgbClr val="FFFFFF"/>
                </a:solidFill>
                <a:latin typeface="+mj-lt"/>
                <a:cs typeface="Calibri" panose="020F0502020204030204" pitchFamily="34" charset="0"/>
              </a:endParaRPr>
            </a:p>
          </p:txBody>
        </p:sp>
        <p:grpSp>
          <p:nvGrpSpPr>
            <p:cNvPr id="96" name="Group 95">
              <a:extLst>
                <a:ext uri="{FF2B5EF4-FFF2-40B4-BE49-F238E27FC236}">
                  <a16:creationId xmlns:a16="http://schemas.microsoft.com/office/drawing/2014/main" id="{B8D75762-8BE0-4B52-BFA9-223757726A93}"/>
                </a:ext>
              </a:extLst>
            </p:cNvPr>
            <p:cNvGrpSpPr>
              <a:grpSpLocks noChangeAspect="1"/>
            </p:cNvGrpSpPr>
            <p:nvPr/>
          </p:nvGrpSpPr>
          <p:grpSpPr>
            <a:xfrm>
              <a:off x="318602" y="3258973"/>
              <a:ext cx="445944" cy="446374"/>
              <a:chOff x="5273675" y="2605088"/>
              <a:chExt cx="1644650" cy="1646237"/>
            </a:xfrm>
          </p:grpSpPr>
          <p:sp>
            <p:nvSpPr>
              <p:cNvPr id="97" name="AutoShape 13">
                <a:extLst>
                  <a:ext uri="{FF2B5EF4-FFF2-40B4-BE49-F238E27FC236}">
                    <a16:creationId xmlns:a16="http://schemas.microsoft.com/office/drawing/2014/main" id="{9F6BF7D1-300F-4896-B3BF-701621B621F2}"/>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8" name="Group 97">
                <a:extLst>
                  <a:ext uri="{FF2B5EF4-FFF2-40B4-BE49-F238E27FC236}">
                    <a16:creationId xmlns:a16="http://schemas.microsoft.com/office/drawing/2014/main" id="{FA3813C0-6524-40FD-8EA2-FCDA99765104}"/>
                  </a:ext>
                </a:extLst>
              </p:cNvPr>
              <p:cNvGrpSpPr/>
              <p:nvPr/>
            </p:nvGrpSpPr>
            <p:grpSpPr>
              <a:xfrm>
                <a:off x="5374481" y="2739232"/>
                <a:ext cx="1443038" cy="1377949"/>
                <a:chOff x="5373687" y="2738438"/>
                <a:chExt cx="1443038" cy="1377949"/>
              </a:xfrm>
            </p:grpSpPr>
            <p:sp>
              <p:nvSpPr>
                <p:cNvPr id="99" name="Freeform 15">
                  <a:extLst>
                    <a:ext uri="{FF2B5EF4-FFF2-40B4-BE49-F238E27FC236}">
                      <a16:creationId xmlns:a16="http://schemas.microsoft.com/office/drawing/2014/main" id="{604FED90-904F-456C-80FB-86F95D970F3A}"/>
                    </a:ext>
                  </a:extLst>
                </p:cNvPr>
                <p:cNvSpPr>
                  <a:spLocks noEditPoints="1"/>
                </p:cNvSpPr>
                <p:nvPr/>
              </p:nvSpPr>
              <p:spPr bwMode="auto">
                <a:xfrm>
                  <a:off x="5737225" y="2797175"/>
                  <a:ext cx="701675" cy="582612"/>
                </a:xfrm>
                <a:custGeom>
                  <a:avLst/>
                  <a:gdLst>
                    <a:gd name="T0" fmla="*/ 958 w 983"/>
                    <a:gd name="T1" fmla="*/ 576 h 816"/>
                    <a:gd name="T2" fmla="*/ 960 w 983"/>
                    <a:gd name="T3" fmla="*/ 487 h 816"/>
                    <a:gd name="T4" fmla="*/ 139 w 983"/>
                    <a:gd name="T5" fmla="*/ 142 h 816"/>
                    <a:gd name="T6" fmla="*/ 31 w 983"/>
                    <a:gd name="T7" fmla="*/ 692 h 816"/>
                    <a:gd name="T8" fmla="*/ 48 w 983"/>
                    <a:gd name="T9" fmla="*/ 700 h 816"/>
                    <a:gd name="T10" fmla="*/ 62 w 983"/>
                    <a:gd name="T11" fmla="*/ 695 h 816"/>
                    <a:gd name="T12" fmla="*/ 65 w 983"/>
                    <a:gd name="T13" fmla="*/ 664 h 816"/>
                    <a:gd name="T14" fmla="*/ 87 w 983"/>
                    <a:gd name="T15" fmla="*/ 291 h 816"/>
                    <a:gd name="T16" fmla="*/ 212 w 983"/>
                    <a:gd name="T17" fmla="*/ 414 h 816"/>
                    <a:gd name="T18" fmla="*/ 155 w 983"/>
                    <a:gd name="T19" fmla="*/ 455 h 816"/>
                    <a:gd name="T20" fmla="*/ 242 w 983"/>
                    <a:gd name="T21" fmla="*/ 455 h 816"/>
                    <a:gd name="T22" fmla="*/ 330 w 983"/>
                    <a:gd name="T23" fmla="*/ 364 h 816"/>
                    <a:gd name="T24" fmla="*/ 353 w 983"/>
                    <a:gd name="T25" fmla="*/ 365 h 816"/>
                    <a:gd name="T26" fmla="*/ 408 w 983"/>
                    <a:gd name="T27" fmla="*/ 467 h 816"/>
                    <a:gd name="T28" fmla="*/ 376 w 983"/>
                    <a:gd name="T29" fmla="*/ 659 h 816"/>
                    <a:gd name="T30" fmla="*/ 349 w 983"/>
                    <a:gd name="T31" fmla="*/ 679 h 816"/>
                    <a:gd name="T32" fmla="*/ 170 w 983"/>
                    <a:gd name="T33" fmla="*/ 675 h 816"/>
                    <a:gd name="T34" fmla="*/ 122 w 983"/>
                    <a:gd name="T35" fmla="*/ 676 h 816"/>
                    <a:gd name="T36" fmla="*/ 104 w 983"/>
                    <a:gd name="T37" fmla="*/ 712 h 816"/>
                    <a:gd name="T38" fmla="*/ 147 w 983"/>
                    <a:gd name="T39" fmla="*/ 755 h 816"/>
                    <a:gd name="T40" fmla="*/ 348 w 983"/>
                    <a:gd name="T41" fmla="*/ 723 h 816"/>
                    <a:gd name="T42" fmla="*/ 417 w 983"/>
                    <a:gd name="T43" fmla="*/ 816 h 816"/>
                    <a:gd name="T44" fmla="*/ 420 w 983"/>
                    <a:gd name="T45" fmla="*/ 729 h 816"/>
                    <a:gd name="T46" fmla="*/ 474 w 983"/>
                    <a:gd name="T47" fmla="*/ 740 h 816"/>
                    <a:gd name="T48" fmla="*/ 558 w 983"/>
                    <a:gd name="T49" fmla="*/ 739 h 816"/>
                    <a:gd name="T50" fmla="*/ 617 w 983"/>
                    <a:gd name="T51" fmla="*/ 735 h 816"/>
                    <a:gd name="T52" fmla="*/ 626 w 983"/>
                    <a:gd name="T53" fmla="*/ 816 h 816"/>
                    <a:gd name="T54" fmla="*/ 682 w 983"/>
                    <a:gd name="T55" fmla="*/ 725 h 816"/>
                    <a:gd name="T56" fmla="*/ 852 w 983"/>
                    <a:gd name="T57" fmla="*/ 765 h 816"/>
                    <a:gd name="T58" fmla="*/ 896 w 983"/>
                    <a:gd name="T59" fmla="*/ 721 h 816"/>
                    <a:gd name="T60" fmla="*/ 852 w 983"/>
                    <a:gd name="T61" fmla="*/ 678 h 816"/>
                    <a:gd name="T62" fmla="*/ 683 w 983"/>
                    <a:gd name="T63" fmla="*/ 680 h 816"/>
                    <a:gd name="T64" fmla="*/ 654 w 983"/>
                    <a:gd name="T65" fmla="*/ 659 h 816"/>
                    <a:gd name="T66" fmla="*/ 613 w 983"/>
                    <a:gd name="T67" fmla="*/ 467 h 816"/>
                    <a:gd name="T68" fmla="*/ 674 w 983"/>
                    <a:gd name="T69" fmla="*/ 366 h 816"/>
                    <a:gd name="T70" fmla="*/ 695 w 983"/>
                    <a:gd name="T71" fmla="*/ 361 h 816"/>
                    <a:gd name="T72" fmla="*/ 765 w 983"/>
                    <a:gd name="T73" fmla="*/ 437 h 816"/>
                    <a:gd name="T74" fmla="*/ 852 w 983"/>
                    <a:gd name="T75" fmla="*/ 437 h 816"/>
                    <a:gd name="T76" fmla="*/ 796 w 983"/>
                    <a:gd name="T77" fmla="*/ 395 h 816"/>
                    <a:gd name="T78" fmla="*/ 870 w 983"/>
                    <a:gd name="T79" fmla="*/ 286 h 816"/>
                    <a:gd name="T80" fmla="*/ 916 w 983"/>
                    <a:gd name="T81" fmla="*/ 505 h 816"/>
                    <a:gd name="T82" fmla="*/ 914 w 983"/>
                    <a:gd name="T83" fmla="*/ 572 h 816"/>
                    <a:gd name="T84" fmla="*/ 939 w 983"/>
                    <a:gd name="T85" fmla="*/ 668 h 816"/>
                    <a:gd name="T86" fmla="*/ 977 w 983"/>
                    <a:gd name="T87" fmla="*/ 647 h 816"/>
                    <a:gd name="T88" fmla="*/ 612 w 983"/>
                    <a:gd name="T89" fmla="*/ 673 h 816"/>
                    <a:gd name="T90" fmla="*/ 547 w 983"/>
                    <a:gd name="T91" fmla="*/ 696 h 816"/>
                    <a:gd name="T92" fmla="*/ 484 w 983"/>
                    <a:gd name="T93" fmla="*/ 697 h 816"/>
                    <a:gd name="T94" fmla="*/ 418 w 983"/>
                    <a:gd name="T95" fmla="*/ 673 h 816"/>
                    <a:gd name="T96" fmla="*/ 468 w 983"/>
                    <a:gd name="T97" fmla="*/ 507 h 816"/>
                    <a:gd name="T98" fmla="*/ 532 w 983"/>
                    <a:gd name="T99" fmla="*/ 489 h 816"/>
                    <a:gd name="T100" fmla="*/ 609 w 983"/>
                    <a:gd name="T101" fmla="*/ 665 h 816"/>
                    <a:gd name="T102" fmla="*/ 569 w 983"/>
                    <a:gd name="T103" fmla="*/ 423 h 816"/>
                    <a:gd name="T104" fmla="*/ 489 w 983"/>
                    <a:gd name="T105" fmla="*/ 445 h 816"/>
                    <a:gd name="T106" fmla="*/ 390 w 983"/>
                    <a:gd name="T107" fmla="*/ 341 h 816"/>
                    <a:gd name="T108" fmla="*/ 636 w 983"/>
                    <a:gd name="T109" fmla="*/ 343 h 816"/>
                    <a:gd name="T110" fmla="*/ 703 w 983"/>
                    <a:gd name="T111" fmla="*/ 290 h 816"/>
                    <a:gd name="T112" fmla="*/ 639 w 983"/>
                    <a:gd name="T113" fmla="*/ 297 h 816"/>
                    <a:gd name="T114" fmla="*/ 344 w 983"/>
                    <a:gd name="T115" fmla="*/ 279 h 816"/>
                    <a:gd name="T116" fmla="*/ 109 w 983"/>
                    <a:gd name="T117" fmla="*/ 251 h 816"/>
                    <a:gd name="T118" fmla="*/ 848 w 983"/>
                    <a:gd name="T119" fmla="*/ 24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3" h="816">
                      <a:moveTo>
                        <a:pt x="977" y="647"/>
                      </a:moveTo>
                      <a:cubicBezTo>
                        <a:pt x="958" y="612"/>
                        <a:pt x="957" y="586"/>
                        <a:pt x="958" y="576"/>
                      </a:cubicBezTo>
                      <a:cubicBezTo>
                        <a:pt x="960" y="552"/>
                        <a:pt x="960" y="528"/>
                        <a:pt x="960" y="505"/>
                      </a:cubicBezTo>
                      <a:cubicBezTo>
                        <a:pt x="960" y="499"/>
                        <a:pt x="960" y="493"/>
                        <a:pt x="960" y="487"/>
                      </a:cubicBezTo>
                      <a:cubicBezTo>
                        <a:pt x="960" y="214"/>
                        <a:pt x="749" y="0"/>
                        <a:pt x="481" y="0"/>
                      </a:cubicBezTo>
                      <a:cubicBezTo>
                        <a:pt x="350" y="0"/>
                        <a:pt x="229" y="50"/>
                        <a:pt x="139" y="142"/>
                      </a:cubicBezTo>
                      <a:cubicBezTo>
                        <a:pt x="49" y="234"/>
                        <a:pt x="0" y="356"/>
                        <a:pt x="0" y="487"/>
                      </a:cubicBezTo>
                      <a:cubicBezTo>
                        <a:pt x="0" y="489"/>
                        <a:pt x="2" y="657"/>
                        <a:pt x="31" y="692"/>
                      </a:cubicBezTo>
                      <a:cubicBezTo>
                        <a:pt x="33" y="694"/>
                        <a:pt x="35" y="696"/>
                        <a:pt x="37" y="697"/>
                      </a:cubicBezTo>
                      <a:cubicBezTo>
                        <a:pt x="41" y="699"/>
                        <a:pt x="45" y="700"/>
                        <a:pt x="48" y="700"/>
                      </a:cubicBezTo>
                      <a:cubicBezTo>
                        <a:pt x="49" y="700"/>
                        <a:pt x="49" y="700"/>
                        <a:pt x="50" y="700"/>
                      </a:cubicBezTo>
                      <a:cubicBezTo>
                        <a:pt x="54" y="699"/>
                        <a:pt x="59" y="698"/>
                        <a:pt x="62" y="695"/>
                      </a:cubicBezTo>
                      <a:cubicBezTo>
                        <a:pt x="68" y="690"/>
                        <a:pt x="70" y="684"/>
                        <a:pt x="70" y="677"/>
                      </a:cubicBezTo>
                      <a:cubicBezTo>
                        <a:pt x="70" y="672"/>
                        <a:pt x="68" y="668"/>
                        <a:pt x="65" y="664"/>
                      </a:cubicBezTo>
                      <a:cubicBezTo>
                        <a:pt x="55" y="650"/>
                        <a:pt x="44" y="555"/>
                        <a:pt x="44" y="487"/>
                      </a:cubicBezTo>
                      <a:cubicBezTo>
                        <a:pt x="44" y="416"/>
                        <a:pt x="60" y="350"/>
                        <a:pt x="87" y="291"/>
                      </a:cubicBezTo>
                      <a:cubicBezTo>
                        <a:pt x="299" y="333"/>
                        <a:pt x="299" y="333"/>
                        <a:pt x="299" y="333"/>
                      </a:cubicBezTo>
                      <a:cubicBezTo>
                        <a:pt x="212" y="414"/>
                        <a:pt x="212" y="414"/>
                        <a:pt x="212" y="414"/>
                      </a:cubicBezTo>
                      <a:cubicBezTo>
                        <a:pt x="207" y="413"/>
                        <a:pt x="203" y="412"/>
                        <a:pt x="198" y="412"/>
                      </a:cubicBezTo>
                      <a:cubicBezTo>
                        <a:pt x="174" y="412"/>
                        <a:pt x="155" y="431"/>
                        <a:pt x="155" y="455"/>
                      </a:cubicBezTo>
                      <a:cubicBezTo>
                        <a:pt x="155" y="479"/>
                        <a:pt x="174" y="499"/>
                        <a:pt x="198" y="499"/>
                      </a:cubicBezTo>
                      <a:cubicBezTo>
                        <a:pt x="222" y="499"/>
                        <a:pt x="242" y="479"/>
                        <a:pt x="242" y="455"/>
                      </a:cubicBezTo>
                      <a:cubicBezTo>
                        <a:pt x="242" y="452"/>
                        <a:pt x="242" y="449"/>
                        <a:pt x="241" y="447"/>
                      </a:cubicBezTo>
                      <a:cubicBezTo>
                        <a:pt x="330" y="364"/>
                        <a:pt x="330" y="364"/>
                        <a:pt x="330" y="364"/>
                      </a:cubicBezTo>
                      <a:cubicBezTo>
                        <a:pt x="335" y="365"/>
                        <a:pt x="339" y="366"/>
                        <a:pt x="344" y="366"/>
                      </a:cubicBezTo>
                      <a:cubicBezTo>
                        <a:pt x="347" y="366"/>
                        <a:pt x="350" y="366"/>
                        <a:pt x="353" y="365"/>
                      </a:cubicBezTo>
                      <a:cubicBezTo>
                        <a:pt x="413" y="445"/>
                        <a:pt x="413" y="445"/>
                        <a:pt x="413" y="445"/>
                      </a:cubicBezTo>
                      <a:cubicBezTo>
                        <a:pt x="410" y="451"/>
                        <a:pt x="408" y="459"/>
                        <a:pt x="408" y="467"/>
                      </a:cubicBezTo>
                      <a:cubicBezTo>
                        <a:pt x="408" y="481"/>
                        <a:pt x="414" y="493"/>
                        <a:pt x="424" y="501"/>
                      </a:cubicBezTo>
                      <a:cubicBezTo>
                        <a:pt x="376" y="659"/>
                        <a:pt x="376" y="659"/>
                        <a:pt x="376" y="659"/>
                      </a:cubicBezTo>
                      <a:cubicBezTo>
                        <a:pt x="368" y="661"/>
                        <a:pt x="361" y="665"/>
                        <a:pt x="355" y="671"/>
                      </a:cubicBezTo>
                      <a:cubicBezTo>
                        <a:pt x="353" y="673"/>
                        <a:pt x="350" y="676"/>
                        <a:pt x="349" y="679"/>
                      </a:cubicBezTo>
                      <a:cubicBezTo>
                        <a:pt x="184" y="689"/>
                        <a:pt x="184" y="689"/>
                        <a:pt x="184" y="689"/>
                      </a:cubicBezTo>
                      <a:cubicBezTo>
                        <a:pt x="181" y="683"/>
                        <a:pt x="176" y="679"/>
                        <a:pt x="170" y="675"/>
                      </a:cubicBezTo>
                      <a:cubicBezTo>
                        <a:pt x="164" y="671"/>
                        <a:pt x="156" y="668"/>
                        <a:pt x="147" y="668"/>
                      </a:cubicBezTo>
                      <a:cubicBezTo>
                        <a:pt x="138" y="668"/>
                        <a:pt x="129" y="671"/>
                        <a:pt x="122" y="676"/>
                      </a:cubicBezTo>
                      <a:cubicBezTo>
                        <a:pt x="113" y="683"/>
                        <a:pt x="106" y="694"/>
                        <a:pt x="104" y="706"/>
                      </a:cubicBezTo>
                      <a:cubicBezTo>
                        <a:pt x="104" y="708"/>
                        <a:pt x="104" y="710"/>
                        <a:pt x="104" y="712"/>
                      </a:cubicBezTo>
                      <a:cubicBezTo>
                        <a:pt x="104" y="726"/>
                        <a:pt x="110" y="738"/>
                        <a:pt x="121" y="746"/>
                      </a:cubicBezTo>
                      <a:cubicBezTo>
                        <a:pt x="128" y="752"/>
                        <a:pt x="137" y="755"/>
                        <a:pt x="147" y="755"/>
                      </a:cubicBezTo>
                      <a:cubicBezTo>
                        <a:pt x="164" y="755"/>
                        <a:pt x="178" y="746"/>
                        <a:pt x="185" y="733"/>
                      </a:cubicBezTo>
                      <a:cubicBezTo>
                        <a:pt x="348" y="723"/>
                        <a:pt x="348" y="723"/>
                        <a:pt x="348" y="723"/>
                      </a:cubicBezTo>
                      <a:cubicBezTo>
                        <a:pt x="354" y="734"/>
                        <a:pt x="365" y="743"/>
                        <a:pt x="378" y="745"/>
                      </a:cubicBezTo>
                      <a:cubicBezTo>
                        <a:pt x="417" y="816"/>
                        <a:pt x="417" y="816"/>
                        <a:pt x="417" y="816"/>
                      </a:cubicBezTo>
                      <a:cubicBezTo>
                        <a:pt x="468" y="816"/>
                        <a:pt x="468" y="816"/>
                        <a:pt x="468" y="816"/>
                      </a:cubicBezTo>
                      <a:cubicBezTo>
                        <a:pt x="420" y="729"/>
                        <a:pt x="420" y="729"/>
                        <a:pt x="420" y="729"/>
                      </a:cubicBezTo>
                      <a:cubicBezTo>
                        <a:pt x="420" y="729"/>
                        <a:pt x="420" y="728"/>
                        <a:pt x="420" y="728"/>
                      </a:cubicBezTo>
                      <a:cubicBezTo>
                        <a:pt x="474" y="740"/>
                        <a:pt x="474" y="740"/>
                        <a:pt x="474" y="740"/>
                      </a:cubicBezTo>
                      <a:cubicBezTo>
                        <a:pt x="480" y="758"/>
                        <a:pt x="496" y="771"/>
                        <a:pt x="516" y="771"/>
                      </a:cubicBezTo>
                      <a:cubicBezTo>
                        <a:pt x="536" y="771"/>
                        <a:pt x="553" y="757"/>
                        <a:pt x="558" y="739"/>
                      </a:cubicBezTo>
                      <a:cubicBezTo>
                        <a:pt x="610" y="728"/>
                        <a:pt x="610" y="728"/>
                        <a:pt x="610" y="728"/>
                      </a:cubicBezTo>
                      <a:cubicBezTo>
                        <a:pt x="612" y="731"/>
                        <a:pt x="614" y="733"/>
                        <a:pt x="617" y="735"/>
                      </a:cubicBezTo>
                      <a:cubicBezTo>
                        <a:pt x="577" y="816"/>
                        <a:pt x="577" y="816"/>
                        <a:pt x="577" y="816"/>
                      </a:cubicBezTo>
                      <a:cubicBezTo>
                        <a:pt x="626" y="816"/>
                        <a:pt x="626" y="816"/>
                        <a:pt x="626" y="816"/>
                      </a:cubicBezTo>
                      <a:cubicBezTo>
                        <a:pt x="663" y="741"/>
                        <a:pt x="663" y="741"/>
                        <a:pt x="663" y="741"/>
                      </a:cubicBezTo>
                      <a:cubicBezTo>
                        <a:pt x="671" y="738"/>
                        <a:pt x="677" y="732"/>
                        <a:pt x="682" y="725"/>
                      </a:cubicBezTo>
                      <a:cubicBezTo>
                        <a:pt x="812" y="738"/>
                        <a:pt x="812" y="738"/>
                        <a:pt x="812" y="738"/>
                      </a:cubicBezTo>
                      <a:cubicBezTo>
                        <a:pt x="818" y="754"/>
                        <a:pt x="834" y="765"/>
                        <a:pt x="852" y="765"/>
                      </a:cubicBezTo>
                      <a:cubicBezTo>
                        <a:pt x="858" y="765"/>
                        <a:pt x="863" y="764"/>
                        <a:pt x="868" y="762"/>
                      </a:cubicBezTo>
                      <a:cubicBezTo>
                        <a:pt x="884" y="755"/>
                        <a:pt x="896" y="740"/>
                        <a:pt x="896" y="721"/>
                      </a:cubicBezTo>
                      <a:cubicBezTo>
                        <a:pt x="896" y="717"/>
                        <a:pt x="895" y="713"/>
                        <a:pt x="894" y="709"/>
                      </a:cubicBezTo>
                      <a:cubicBezTo>
                        <a:pt x="889" y="691"/>
                        <a:pt x="872" y="678"/>
                        <a:pt x="852" y="678"/>
                      </a:cubicBezTo>
                      <a:cubicBezTo>
                        <a:pt x="838" y="678"/>
                        <a:pt x="826" y="684"/>
                        <a:pt x="818" y="694"/>
                      </a:cubicBezTo>
                      <a:cubicBezTo>
                        <a:pt x="683" y="680"/>
                        <a:pt x="683" y="680"/>
                        <a:pt x="683" y="680"/>
                      </a:cubicBezTo>
                      <a:cubicBezTo>
                        <a:pt x="679" y="674"/>
                        <a:pt x="673" y="668"/>
                        <a:pt x="666" y="664"/>
                      </a:cubicBezTo>
                      <a:cubicBezTo>
                        <a:pt x="662" y="662"/>
                        <a:pt x="658" y="660"/>
                        <a:pt x="654" y="659"/>
                      </a:cubicBezTo>
                      <a:cubicBezTo>
                        <a:pt x="598" y="499"/>
                        <a:pt x="598" y="499"/>
                        <a:pt x="598" y="499"/>
                      </a:cubicBezTo>
                      <a:cubicBezTo>
                        <a:pt x="607" y="491"/>
                        <a:pt x="613" y="480"/>
                        <a:pt x="613" y="467"/>
                      </a:cubicBezTo>
                      <a:cubicBezTo>
                        <a:pt x="613" y="459"/>
                        <a:pt x="611" y="453"/>
                        <a:pt x="608" y="447"/>
                      </a:cubicBezTo>
                      <a:cubicBezTo>
                        <a:pt x="674" y="366"/>
                        <a:pt x="674" y="366"/>
                        <a:pt x="674" y="366"/>
                      </a:cubicBezTo>
                      <a:cubicBezTo>
                        <a:pt x="674" y="366"/>
                        <a:pt x="674" y="366"/>
                        <a:pt x="674" y="366"/>
                      </a:cubicBezTo>
                      <a:cubicBezTo>
                        <a:pt x="682" y="366"/>
                        <a:pt x="689" y="364"/>
                        <a:pt x="695" y="361"/>
                      </a:cubicBezTo>
                      <a:cubicBezTo>
                        <a:pt x="766" y="427"/>
                        <a:pt x="766" y="427"/>
                        <a:pt x="766" y="427"/>
                      </a:cubicBezTo>
                      <a:cubicBezTo>
                        <a:pt x="765" y="430"/>
                        <a:pt x="765" y="433"/>
                        <a:pt x="765" y="437"/>
                      </a:cubicBezTo>
                      <a:cubicBezTo>
                        <a:pt x="765" y="461"/>
                        <a:pt x="785" y="480"/>
                        <a:pt x="809" y="480"/>
                      </a:cubicBezTo>
                      <a:cubicBezTo>
                        <a:pt x="833" y="480"/>
                        <a:pt x="852" y="461"/>
                        <a:pt x="852" y="437"/>
                      </a:cubicBezTo>
                      <a:cubicBezTo>
                        <a:pt x="852" y="413"/>
                        <a:pt x="833" y="393"/>
                        <a:pt x="809" y="393"/>
                      </a:cubicBezTo>
                      <a:cubicBezTo>
                        <a:pt x="804" y="393"/>
                        <a:pt x="800" y="394"/>
                        <a:pt x="796" y="395"/>
                      </a:cubicBezTo>
                      <a:cubicBezTo>
                        <a:pt x="726" y="329"/>
                        <a:pt x="726" y="329"/>
                        <a:pt x="726" y="329"/>
                      </a:cubicBezTo>
                      <a:cubicBezTo>
                        <a:pt x="870" y="286"/>
                        <a:pt x="870" y="286"/>
                        <a:pt x="870" y="286"/>
                      </a:cubicBezTo>
                      <a:cubicBezTo>
                        <a:pt x="899" y="346"/>
                        <a:pt x="916" y="414"/>
                        <a:pt x="916" y="487"/>
                      </a:cubicBezTo>
                      <a:cubicBezTo>
                        <a:pt x="916" y="493"/>
                        <a:pt x="916" y="499"/>
                        <a:pt x="916" y="505"/>
                      </a:cubicBezTo>
                      <a:cubicBezTo>
                        <a:pt x="916" y="528"/>
                        <a:pt x="916" y="550"/>
                        <a:pt x="914" y="572"/>
                      </a:cubicBezTo>
                      <a:cubicBezTo>
                        <a:pt x="914" y="572"/>
                        <a:pt x="914" y="572"/>
                        <a:pt x="914" y="572"/>
                      </a:cubicBezTo>
                      <a:cubicBezTo>
                        <a:pt x="912" y="598"/>
                        <a:pt x="919" y="629"/>
                        <a:pt x="933" y="658"/>
                      </a:cubicBezTo>
                      <a:cubicBezTo>
                        <a:pt x="935" y="661"/>
                        <a:pt x="937" y="665"/>
                        <a:pt x="939" y="668"/>
                      </a:cubicBezTo>
                      <a:cubicBezTo>
                        <a:pt x="945" y="679"/>
                        <a:pt x="958" y="683"/>
                        <a:pt x="969" y="677"/>
                      </a:cubicBezTo>
                      <a:cubicBezTo>
                        <a:pt x="979" y="671"/>
                        <a:pt x="983" y="657"/>
                        <a:pt x="977" y="647"/>
                      </a:cubicBezTo>
                      <a:close/>
                      <a:moveTo>
                        <a:pt x="609" y="665"/>
                      </a:moveTo>
                      <a:cubicBezTo>
                        <a:pt x="612" y="673"/>
                        <a:pt x="612" y="673"/>
                        <a:pt x="612" y="673"/>
                      </a:cubicBezTo>
                      <a:cubicBezTo>
                        <a:pt x="609" y="677"/>
                        <a:pt x="607" y="680"/>
                        <a:pt x="605" y="684"/>
                      </a:cubicBezTo>
                      <a:cubicBezTo>
                        <a:pt x="547" y="696"/>
                        <a:pt x="547" y="696"/>
                        <a:pt x="547" y="696"/>
                      </a:cubicBezTo>
                      <a:cubicBezTo>
                        <a:pt x="539" y="688"/>
                        <a:pt x="528" y="684"/>
                        <a:pt x="516" y="684"/>
                      </a:cubicBezTo>
                      <a:cubicBezTo>
                        <a:pt x="503" y="684"/>
                        <a:pt x="492" y="689"/>
                        <a:pt x="484" y="697"/>
                      </a:cubicBezTo>
                      <a:cubicBezTo>
                        <a:pt x="425" y="684"/>
                        <a:pt x="425" y="684"/>
                        <a:pt x="425" y="684"/>
                      </a:cubicBezTo>
                      <a:cubicBezTo>
                        <a:pt x="424" y="680"/>
                        <a:pt x="421" y="676"/>
                        <a:pt x="418" y="673"/>
                      </a:cubicBezTo>
                      <a:cubicBezTo>
                        <a:pt x="419" y="669"/>
                        <a:pt x="419" y="669"/>
                        <a:pt x="419" y="669"/>
                      </a:cubicBezTo>
                      <a:cubicBezTo>
                        <a:pt x="468" y="507"/>
                        <a:pt x="468" y="507"/>
                        <a:pt x="468" y="507"/>
                      </a:cubicBezTo>
                      <a:cubicBezTo>
                        <a:pt x="477" y="503"/>
                        <a:pt x="484" y="497"/>
                        <a:pt x="489" y="489"/>
                      </a:cubicBezTo>
                      <a:cubicBezTo>
                        <a:pt x="532" y="489"/>
                        <a:pt x="532" y="489"/>
                        <a:pt x="532" y="489"/>
                      </a:cubicBezTo>
                      <a:cubicBezTo>
                        <a:pt x="537" y="497"/>
                        <a:pt x="545" y="504"/>
                        <a:pt x="554" y="507"/>
                      </a:cubicBezTo>
                      <a:lnTo>
                        <a:pt x="609" y="665"/>
                      </a:lnTo>
                      <a:close/>
                      <a:moveTo>
                        <a:pt x="570" y="423"/>
                      </a:moveTo>
                      <a:cubicBezTo>
                        <a:pt x="570" y="423"/>
                        <a:pt x="570" y="423"/>
                        <a:pt x="569" y="423"/>
                      </a:cubicBezTo>
                      <a:cubicBezTo>
                        <a:pt x="553" y="423"/>
                        <a:pt x="539" y="432"/>
                        <a:pt x="532" y="445"/>
                      </a:cubicBezTo>
                      <a:cubicBezTo>
                        <a:pt x="489" y="445"/>
                        <a:pt x="489" y="445"/>
                        <a:pt x="489" y="445"/>
                      </a:cubicBezTo>
                      <a:cubicBezTo>
                        <a:pt x="481" y="432"/>
                        <a:pt x="468" y="424"/>
                        <a:pt x="452" y="423"/>
                      </a:cubicBezTo>
                      <a:cubicBezTo>
                        <a:pt x="390" y="341"/>
                        <a:pt x="390" y="341"/>
                        <a:pt x="390" y="341"/>
                      </a:cubicBezTo>
                      <a:cubicBezTo>
                        <a:pt x="635" y="341"/>
                        <a:pt x="635" y="341"/>
                        <a:pt x="635" y="341"/>
                      </a:cubicBezTo>
                      <a:cubicBezTo>
                        <a:pt x="635" y="342"/>
                        <a:pt x="636" y="342"/>
                        <a:pt x="636" y="343"/>
                      </a:cubicBezTo>
                      <a:lnTo>
                        <a:pt x="570" y="423"/>
                      </a:lnTo>
                      <a:close/>
                      <a:moveTo>
                        <a:pt x="703" y="290"/>
                      </a:moveTo>
                      <a:cubicBezTo>
                        <a:pt x="696" y="283"/>
                        <a:pt x="686" y="279"/>
                        <a:pt x="674" y="279"/>
                      </a:cubicBezTo>
                      <a:cubicBezTo>
                        <a:pt x="660" y="279"/>
                        <a:pt x="647" y="286"/>
                        <a:pt x="639" y="297"/>
                      </a:cubicBezTo>
                      <a:cubicBezTo>
                        <a:pt x="380" y="297"/>
                        <a:pt x="380" y="297"/>
                        <a:pt x="380" y="297"/>
                      </a:cubicBezTo>
                      <a:cubicBezTo>
                        <a:pt x="372" y="286"/>
                        <a:pt x="359" y="279"/>
                        <a:pt x="344" y="279"/>
                      </a:cubicBezTo>
                      <a:cubicBezTo>
                        <a:pt x="333" y="279"/>
                        <a:pt x="322" y="284"/>
                        <a:pt x="315" y="291"/>
                      </a:cubicBezTo>
                      <a:cubicBezTo>
                        <a:pt x="109" y="251"/>
                        <a:pt x="109" y="251"/>
                        <a:pt x="109" y="251"/>
                      </a:cubicBezTo>
                      <a:cubicBezTo>
                        <a:pt x="186" y="125"/>
                        <a:pt x="322" y="44"/>
                        <a:pt x="481" y="44"/>
                      </a:cubicBezTo>
                      <a:cubicBezTo>
                        <a:pt x="637" y="44"/>
                        <a:pt x="772" y="124"/>
                        <a:pt x="848" y="246"/>
                      </a:cubicBezTo>
                      <a:lnTo>
                        <a:pt x="703"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6">
                  <a:extLst>
                    <a:ext uri="{FF2B5EF4-FFF2-40B4-BE49-F238E27FC236}">
                      <a16:creationId xmlns:a16="http://schemas.microsoft.com/office/drawing/2014/main" id="{8DCD4373-8FB4-4613-9B99-5509853E85BA}"/>
                    </a:ext>
                  </a:extLst>
                </p:cNvPr>
                <p:cNvSpPr>
                  <a:spLocks/>
                </p:cNvSpPr>
                <p:nvPr/>
              </p:nvSpPr>
              <p:spPr bwMode="auto">
                <a:xfrm>
                  <a:off x="5373687" y="2738438"/>
                  <a:ext cx="1443038" cy="1377949"/>
                </a:xfrm>
                <a:custGeom>
                  <a:avLst/>
                  <a:gdLst>
                    <a:gd name="connsiteX0" fmla="*/ 1427273 w 1443038"/>
                    <a:gd name="connsiteY0" fmla="*/ 1274762 h 1377949"/>
                    <a:gd name="connsiteX1" fmla="*/ 1443038 w 1443038"/>
                    <a:gd name="connsiteY1" fmla="*/ 1290527 h 1377949"/>
                    <a:gd name="connsiteX2" fmla="*/ 1443038 w 1443038"/>
                    <a:gd name="connsiteY2" fmla="*/ 1362184 h 1377949"/>
                    <a:gd name="connsiteX3" fmla="*/ 1427273 w 1443038"/>
                    <a:gd name="connsiteY3" fmla="*/ 1377949 h 1377949"/>
                    <a:gd name="connsiteX4" fmla="*/ 1355615 w 1443038"/>
                    <a:gd name="connsiteY4" fmla="*/ 1377949 h 1377949"/>
                    <a:gd name="connsiteX5" fmla="*/ 1339850 w 1443038"/>
                    <a:gd name="connsiteY5" fmla="*/ 1362184 h 1377949"/>
                    <a:gd name="connsiteX6" fmla="*/ 1355615 w 1443038"/>
                    <a:gd name="connsiteY6" fmla="*/ 1346420 h 1377949"/>
                    <a:gd name="connsiteX7" fmla="*/ 1411509 w 1443038"/>
                    <a:gd name="connsiteY7" fmla="*/ 1346420 h 1377949"/>
                    <a:gd name="connsiteX8" fmla="*/ 1411509 w 1443038"/>
                    <a:gd name="connsiteY8" fmla="*/ 1290527 h 1377949"/>
                    <a:gd name="connsiteX9" fmla="*/ 1427273 w 1443038"/>
                    <a:gd name="connsiteY9" fmla="*/ 1274762 h 1377949"/>
                    <a:gd name="connsiteX10" fmla="*/ 15765 w 1443038"/>
                    <a:gd name="connsiteY10" fmla="*/ 1274762 h 1377949"/>
                    <a:gd name="connsiteX11" fmla="*/ 31529 w 1443038"/>
                    <a:gd name="connsiteY11" fmla="*/ 1290527 h 1377949"/>
                    <a:gd name="connsiteX12" fmla="*/ 31529 w 1443038"/>
                    <a:gd name="connsiteY12" fmla="*/ 1346420 h 1377949"/>
                    <a:gd name="connsiteX13" fmla="*/ 87423 w 1443038"/>
                    <a:gd name="connsiteY13" fmla="*/ 1346420 h 1377949"/>
                    <a:gd name="connsiteX14" fmla="*/ 103188 w 1443038"/>
                    <a:gd name="connsiteY14" fmla="*/ 1362184 h 1377949"/>
                    <a:gd name="connsiteX15" fmla="*/ 87423 w 1443038"/>
                    <a:gd name="connsiteY15" fmla="*/ 1377949 h 1377949"/>
                    <a:gd name="connsiteX16" fmla="*/ 15765 w 1443038"/>
                    <a:gd name="connsiteY16" fmla="*/ 1377949 h 1377949"/>
                    <a:gd name="connsiteX17" fmla="*/ 0 w 1443038"/>
                    <a:gd name="connsiteY17" fmla="*/ 1362184 h 1377949"/>
                    <a:gd name="connsiteX18" fmla="*/ 0 w 1443038"/>
                    <a:gd name="connsiteY18" fmla="*/ 1290527 h 1377949"/>
                    <a:gd name="connsiteX19" fmla="*/ 15765 w 1443038"/>
                    <a:gd name="connsiteY19" fmla="*/ 1274762 h 1377949"/>
                    <a:gd name="connsiteX20" fmla="*/ 502474 w 1443038"/>
                    <a:gd name="connsiteY20" fmla="*/ 969962 h 1377949"/>
                    <a:gd name="connsiteX21" fmla="*/ 513894 w 1443038"/>
                    <a:gd name="connsiteY21" fmla="*/ 969962 h 1377949"/>
                    <a:gd name="connsiteX22" fmla="*/ 533880 w 1443038"/>
                    <a:gd name="connsiteY22" fmla="*/ 986406 h 1377949"/>
                    <a:gd name="connsiteX23" fmla="*/ 544586 w 1443038"/>
                    <a:gd name="connsiteY23" fmla="*/ 994985 h 1377949"/>
                    <a:gd name="connsiteX24" fmla="*/ 718030 w 1443038"/>
                    <a:gd name="connsiteY24" fmla="*/ 1137261 h 1377949"/>
                    <a:gd name="connsiteX25" fmla="*/ 726595 w 1443038"/>
                    <a:gd name="connsiteY25" fmla="*/ 1136546 h 1377949"/>
                    <a:gd name="connsiteX26" fmla="*/ 900038 w 1443038"/>
                    <a:gd name="connsiteY26" fmla="*/ 994985 h 1377949"/>
                    <a:gd name="connsiteX27" fmla="*/ 910745 w 1443038"/>
                    <a:gd name="connsiteY27" fmla="*/ 986406 h 1377949"/>
                    <a:gd name="connsiteX28" fmla="*/ 930730 w 1443038"/>
                    <a:gd name="connsiteY28" fmla="*/ 969962 h 1377949"/>
                    <a:gd name="connsiteX29" fmla="*/ 942150 w 1443038"/>
                    <a:gd name="connsiteY29" fmla="*/ 969962 h 1377949"/>
                    <a:gd name="connsiteX30" fmla="*/ 1207669 w 1443038"/>
                    <a:gd name="connsiteY30" fmla="*/ 1017149 h 1377949"/>
                    <a:gd name="connsiteX31" fmla="*/ 1363268 w 1443038"/>
                    <a:gd name="connsiteY31" fmla="*/ 1243789 h 1377949"/>
                    <a:gd name="connsiteX32" fmla="*/ 1348279 w 1443038"/>
                    <a:gd name="connsiteY32" fmla="*/ 1265237 h 1377949"/>
                    <a:gd name="connsiteX33" fmla="*/ 96345 w 1443038"/>
                    <a:gd name="connsiteY33" fmla="*/ 1265237 h 1377949"/>
                    <a:gd name="connsiteX34" fmla="*/ 81356 w 1443038"/>
                    <a:gd name="connsiteY34" fmla="*/ 1243789 h 1377949"/>
                    <a:gd name="connsiteX35" fmla="*/ 236956 w 1443038"/>
                    <a:gd name="connsiteY35" fmla="*/ 1017149 h 1377949"/>
                    <a:gd name="connsiteX36" fmla="*/ 502474 w 1443038"/>
                    <a:gd name="connsiteY36" fmla="*/ 969962 h 1377949"/>
                    <a:gd name="connsiteX37" fmla="*/ 461962 w 1443038"/>
                    <a:gd name="connsiteY37" fmla="*/ 736600 h 1377949"/>
                    <a:gd name="connsiteX38" fmla="*/ 496284 w 1443038"/>
                    <a:gd name="connsiteY38" fmla="*/ 736600 h 1377949"/>
                    <a:gd name="connsiteX39" fmla="*/ 559922 w 1443038"/>
                    <a:gd name="connsiteY39" fmla="*/ 858347 h 1377949"/>
                    <a:gd name="connsiteX40" fmla="*/ 567072 w 1443038"/>
                    <a:gd name="connsiteY40" fmla="*/ 864043 h 1377949"/>
                    <a:gd name="connsiteX41" fmla="*/ 595673 w 1443038"/>
                    <a:gd name="connsiteY41" fmla="*/ 885402 h 1377949"/>
                    <a:gd name="connsiteX42" fmla="*/ 721519 w 1443038"/>
                    <a:gd name="connsiteY42" fmla="*/ 938800 h 1377949"/>
                    <a:gd name="connsiteX43" fmla="*/ 847364 w 1443038"/>
                    <a:gd name="connsiteY43" fmla="*/ 885402 h 1377949"/>
                    <a:gd name="connsiteX44" fmla="*/ 875966 w 1443038"/>
                    <a:gd name="connsiteY44" fmla="*/ 864043 h 1377949"/>
                    <a:gd name="connsiteX45" fmla="*/ 883116 w 1443038"/>
                    <a:gd name="connsiteY45" fmla="*/ 858347 h 1377949"/>
                    <a:gd name="connsiteX46" fmla="*/ 946754 w 1443038"/>
                    <a:gd name="connsiteY46" fmla="*/ 736600 h 1377949"/>
                    <a:gd name="connsiteX47" fmla="*/ 981075 w 1443038"/>
                    <a:gd name="connsiteY47" fmla="*/ 736600 h 1377949"/>
                    <a:gd name="connsiteX48" fmla="*/ 918152 w 1443038"/>
                    <a:gd name="connsiteY48" fmla="*/ 864043 h 1377949"/>
                    <a:gd name="connsiteX49" fmla="*/ 910287 w 1443038"/>
                    <a:gd name="connsiteY49" fmla="*/ 874722 h 1377949"/>
                    <a:gd name="connsiteX50" fmla="*/ 910287 w 1443038"/>
                    <a:gd name="connsiteY50" fmla="*/ 916728 h 1377949"/>
                    <a:gd name="connsiteX51" fmla="*/ 910287 w 1443038"/>
                    <a:gd name="connsiteY51" fmla="*/ 945919 h 1377949"/>
                    <a:gd name="connsiteX52" fmla="*/ 878826 w 1443038"/>
                    <a:gd name="connsiteY52" fmla="*/ 971550 h 1377949"/>
                    <a:gd name="connsiteX53" fmla="*/ 878826 w 1443038"/>
                    <a:gd name="connsiteY53" fmla="*/ 939511 h 1377949"/>
                    <a:gd name="connsiteX54" fmla="*/ 878826 w 1443038"/>
                    <a:gd name="connsiteY54" fmla="*/ 901065 h 1377949"/>
                    <a:gd name="connsiteX55" fmla="*/ 847364 w 1443038"/>
                    <a:gd name="connsiteY55" fmla="*/ 922424 h 1377949"/>
                    <a:gd name="connsiteX56" fmla="*/ 721519 w 1443038"/>
                    <a:gd name="connsiteY56" fmla="*/ 970126 h 1377949"/>
                    <a:gd name="connsiteX57" fmla="*/ 595673 w 1443038"/>
                    <a:gd name="connsiteY57" fmla="*/ 922424 h 1377949"/>
                    <a:gd name="connsiteX58" fmla="*/ 564212 w 1443038"/>
                    <a:gd name="connsiteY58" fmla="*/ 901065 h 1377949"/>
                    <a:gd name="connsiteX59" fmla="*/ 564212 w 1443038"/>
                    <a:gd name="connsiteY59" fmla="*/ 939511 h 1377949"/>
                    <a:gd name="connsiteX60" fmla="*/ 564212 w 1443038"/>
                    <a:gd name="connsiteY60" fmla="*/ 971550 h 1377949"/>
                    <a:gd name="connsiteX61" fmla="*/ 532750 w 1443038"/>
                    <a:gd name="connsiteY61" fmla="*/ 945919 h 1377949"/>
                    <a:gd name="connsiteX62" fmla="*/ 532750 w 1443038"/>
                    <a:gd name="connsiteY62" fmla="*/ 916728 h 1377949"/>
                    <a:gd name="connsiteX63" fmla="*/ 532750 w 1443038"/>
                    <a:gd name="connsiteY63" fmla="*/ 874722 h 1377949"/>
                    <a:gd name="connsiteX64" fmla="*/ 524885 w 1443038"/>
                    <a:gd name="connsiteY64" fmla="*/ 864043 h 1377949"/>
                    <a:gd name="connsiteX65" fmla="*/ 461962 w 1443038"/>
                    <a:gd name="connsiteY65" fmla="*/ 736600 h 1377949"/>
                    <a:gd name="connsiteX66" fmla="*/ 195101 w 1443038"/>
                    <a:gd name="connsiteY66" fmla="*/ 673100 h 1377949"/>
                    <a:gd name="connsiteX67" fmla="*/ 396526 w 1443038"/>
                    <a:gd name="connsiteY67" fmla="*/ 673100 h 1377949"/>
                    <a:gd name="connsiteX68" fmla="*/ 435810 w 1443038"/>
                    <a:gd name="connsiteY68" fmla="*/ 673100 h 1377949"/>
                    <a:gd name="connsiteX69" fmla="*/ 470095 w 1443038"/>
                    <a:gd name="connsiteY69" fmla="*/ 673100 h 1377949"/>
                    <a:gd name="connsiteX70" fmla="*/ 503666 w 1443038"/>
                    <a:gd name="connsiteY70" fmla="*/ 673100 h 1377949"/>
                    <a:gd name="connsiteX71" fmla="*/ 679377 w 1443038"/>
                    <a:gd name="connsiteY71" fmla="*/ 673100 h 1377949"/>
                    <a:gd name="connsiteX72" fmla="*/ 715090 w 1443038"/>
                    <a:gd name="connsiteY72" fmla="*/ 673100 h 1377949"/>
                    <a:gd name="connsiteX73" fmla="*/ 760804 w 1443038"/>
                    <a:gd name="connsiteY73" fmla="*/ 673100 h 1377949"/>
                    <a:gd name="connsiteX74" fmla="*/ 795803 w 1443038"/>
                    <a:gd name="connsiteY74" fmla="*/ 673100 h 1377949"/>
                    <a:gd name="connsiteX75" fmla="*/ 939371 w 1443038"/>
                    <a:gd name="connsiteY75" fmla="*/ 673100 h 1377949"/>
                    <a:gd name="connsiteX76" fmla="*/ 972942 w 1443038"/>
                    <a:gd name="connsiteY76" fmla="*/ 673100 h 1377949"/>
                    <a:gd name="connsiteX77" fmla="*/ 1007227 w 1443038"/>
                    <a:gd name="connsiteY77" fmla="*/ 673100 h 1377949"/>
                    <a:gd name="connsiteX78" fmla="*/ 1046512 w 1443038"/>
                    <a:gd name="connsiteY78" fmla="*/ 673100 h 1377949"/>
                    <a:gd name="connsiteX79" fmla="*/ 1247936 w 1443038"/>
                    <a:gd name="connsiteY79" fmla="*/ 673100 h 1377949"/>
                    <a:gd name="connsiteX80" fmla="*/ 1263650 w 1443038"/>
                    <a:gd name="connsiteY80" fmla="*/ 688975 h 1377949"/>
                    <a:gd name="connsiteX81" fmla="*/ 1247936 w 1443038"/>
                    <a:gd name="connsiteY81" fmla="*/ 704850 h 1377949"/>
                    <a:gd name="connsiteX82" fmla="*/ 1027941 w 1443038"/>
                    <a:gd name="connsiteY82" fmla="*/ 704850 h 1377949"/>
                    <a:gd name="connsiteX83" fmla="*/ 994370 w 1443038"/>
                    <a:gd name="connsiteY83" fmla="*/ 704850 h 1377949"/>
                    <a:gd name="connsiteX84" fmla="*/ 960085 w 1443038"/>
                    <a:gd name="connsiteY84" fmla="*/ 704850 h 1377949"/>
                    <a:gd name="connsiteX85" fmla="*/ 925800 w 1443038"/>
                    <a:gd name="connsiteY85" fmla="*/ 704850 h 1377949"/>
                    <a:gd name="connsiteX86" fmla="*/ 770089 w 1443038"/>
                    <a:gd name="connsiteY86" fmla="*/ 704850 h 1377949"/>
                    <a:gd name="connsiteX87" fmla="*/ 705805 w 1443038"/>
                    <a:gd name="connsiteY87" fmla="*/ 704850 h 1377949"/>
                    <a:gd name="connsiteX88" fmla="*/ 517237 w 1443038"/>
                    <a:gd name="connsiteY88" fmla="*/ 704850 h 1377949"/>
                    <a:gd name="connsiteX89" fmla="*/ 482952 w 1443038"/>
                    <a:gd name="connsiteY89" fmla="*/ 704850 h 1377949"/>
                    <a:gd name="connsiteX90" fmla="*/ 448667 w 1443038"/>
                    <a:gd name="connsiteY90" fmla="*/ 704850 h 1377949"/>
                    <a:gd name="connsiteX91" fmla="*/ 415097 w 1443038"/>
                    <a:gd name="connsiteY91" fmla="*/ 704850 h 1377949"/>
                    <a:gd name="connsiteX92" fmla="*/ 195101 w 1443038"/>
                    <a:gd name="connsiteY92" fmla="*/ 704850 h 1377949"/>
                    <a:gd name="connsiteX93" fmla="*/ 179387 w 1443038"/>
                    <a:gd name="connsiteY93" fmla="*/ 688975 h 1377949"/>
                    <a:gd name="connsiteX94" fmla="*/ 195101 w 1443038"/>
                    <a:gd name="connsiteY94" fmla="*/ 673100 h 1377949"/>
                    <a:gd name="connsiteX95" fmla="*/ 1062037 w 1443038"/>
                    <a:gd name="connsiteY95" fmla="*/ 579437 h 1377949"/>
                    <a:gd name="connsiteX96" fmla="*/ 1062037 w 1443038"/>
                    <a:gd name="connsiteY96" fmla="*/ 581548 h 1377949"/>
                    <a:gd name="connsiteX97" fmla="*/ 1034263 w 1443038"/>
                    <a:gd name="connsiteY97" fmla="*/ 641349 h 1377949"/>
                    <a:gd name="connsiteX98" fmla="*/ 985837 w 1443038"/>
                    <a:gd name="connsiteY98" fmla="*/ 641349 h 1377949"/>
                    <a:gd name="connsiteX99" fmla="*/ 992959 w 1443038"/>
                    <a:gd name="connsiteY99" fmla="*/ 633610 h 1377949"/>
                    <a:gd name="connsiteX100" fmla="*/ 1025718 w 1443038"/>
                    <a:gd name="connsiteY100" fmla="*/ 596322 h 1377949"/>
                    <a:gd name="connsiteX101" fmla="*/ 1062037 w 1443038"/>
                    <a:gd name="connsiteY101" fmla="*/ 579437 h 1377949"/>
                    <a:gd name="connsiteX102" fmla="*/ 381000 w 1443038"/>
                    <a:gd name="connsiteY102" fmla="*/ 579437 h 1377949"/>
                    <a:gd name="connsiteX103" fmla="*/ 417320 w 1443038"/>
                    <a:gd name="connsiteY103" fmla="*/ 596322 h 1377949"/>
                    <a:gd name="connsiteX104" fmla="*/ 450079 w 1443038"/>
                    <a:gd name="connsiteY104" fmla="*/ 633610 h 1377949"/>
                    <a:gd name="connsiteX105" fmla="*/ 457200 w 1443038"/>
                    <a:gd name="connsiteY105" fmla="*/ 641349 h 1377949"/>
                    <a:gd name="connsiteX106" fmla="*/ 408774 w 1443038"/>
                    <a:gd name="connsiteY106" fmla="*/ 641349 h 1377949"/>
                    <a:gd name="connsiteX107" fmla="*/ 381000 w 1443038"/>
                    <a:gd name="connsiteY107" fmla="*/ 582955 h 1377949"/>
                    <a:gd name="connsiteX108" fmla="*/ 381000 w 1443038"/>
                    <a:gd name="connsiteY108" fmla="*/ 579437 h 1377949"/>
                    <a:gd name="connsiteX109" fmla="*/ 1355615 w 1443038"/>
                    <a:gd name="connsiteY109" fmla="*/ 0 h 1377949"/>
                    <a:gd name="connsiteX110" fmla="*/ 1427273 w 1443038"/>
                    <a:gd name="connsiteY110" fmla="*/ 0 h 1377949"/>
                    <a:gd name="connsiteX111" fmla="*/ 1443038 w 1443038"/>
                    <a:gd name="connsiteY111" fmla="*/ 15765 h 1377949"/>
                    <a:gd name="connsiteX112" fmla="*/ 1443038 w 1443038"/>
                    <a:gd name="connsiteY112" fmla="*/ 87422 h 1377949"/>
                    <a:gd name="connsiteX113" fmla="*/ 1427273 w 1443038"/>
                    <a:gd name="connsiteY113" fmla="*/ 103187 h 1377949"/>
                    <a:gd name="connsiteX114" fmla="*/ 1411509 w 1443038"/>
                    <a:gd name="connsiteY114" fmla="*/ 87422 h 1377949"/>
                    <a:gd name="connsiteX115" fmla="*/ 1411509 w 1443038"/>
                    <a:gd name="connsiteY115" fmla="*/ 31529 h 1377949"/>
                    <a:gd name="connsiteX116" fmla="*/ 1355615 w 1443038"/>
                    <a:gd name="connsiteY116" fmla="*/ 31529 h 1377949"/>
                    <a:gd name="connsiteX117" fmla="*/ 1339850 w 1443038"/>
                    <a:gd name="connsiteY117" fmla="*/ 15765 h 1377949"/>
                    <a:gd name="connsiteX118" fmla="*/ 1355615 w 1443038"/>
                    <a:gd name="connsiteY118" fmla="*/ 0 h 1377949"/>
                    <a:gd name="connsiteX119" fmla="*/ 15765 w 1443038"/>
                    <a:gd name="connsiteY119" fmla="*/ 0 h 1377949"/>
                    <a:gd name="connsiteX120" fmla="*/ 87423 w 1443038"/>
                    <a:gd name="connsiteY120" fmla="*/ 0 h 1377949"/>
                    <a:gd name="connsiteX121" fmla="*/ 103188 w 1443038"/>
                    <a:gd name="connsiteY121" fmla="*/ 15765 h 1377949"/>
                    <a:gd name="connsiteX122" fmla="*/ 87423 w 1443038"/>
                    <a:gd name="connsiteY122" fmla="*/ 31529 h 1377949"/>
                    <a:gd name="connsiteX123" fmla="*/ 31529 w 1443038"/>
                    <a:gd name="connsiteY123" fmla="*/ 31529 h 1377949"/>
                    <a:gd name="connsiteX124" fmla="*/ 31529 w 1443038"/>
                    <a:gd name="connsiteY124" fmla="*/ 87422 h 1377949"/>
                    <a:gd name="connsiteX125" fmla="*/ 15765 w 1443038"/>
                    <a:gd name="connsiteY125" fmla="*/ 103187 h 1377949"/>
                    <a:gd name="connsiteX126" fmla="*/ 0 w 1443038"/>
                    <a:gd name="connsiteY126" fmla="*/ 87422 h 1377949"/>
                    <a:gd name="connsiteX127" fmla="*/ 0 w 1443038"/>
                    <a:gd name="connsiteY127" fmla="*/ 15765 h 1377949"/>
                    <a:gd name="connsiteX128" fmla="*/ 15765 w 1443038"/>
                    <a:gd name="connsiteY128" fmla="*/ 0 h 13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443038" h="1377949">
                      <a:moveTo>
                        <a:pt x="1427273" y="1274762"/>
                      </a:moveTo>
                      <a:cubicBezTo>
                        <a:pt x="1435872" y="1274762"/>
                        <a:pt x="1443038" y="1281928"/>
                        <a:pt x="1443038" y="1290527"/>
                      </a:cubicBezTo>
                      <a:cubicBezTo>
                        <a:pt x="1443038" y="1290527"/>
                        <a:pt x="1443038" y="1290527"/>
                        <a:pt x="1443038" y="1362184"/>
                      </a:cubicBezTo>
                      <a:cubicBezTo>
                        <a:pt x="1443038" y="1371500"/>
                        <a:pt x="1435872" y="1377949"/>
                        <a:pt x="1427273" y="1377949"/>
                      </a:cubicBezTo>
                      <a:cubicBezTo>
                        <a:pt x="1427273" y="1377949"/>
                        <a:pt x="1427273" y="1377949"/>
                        <a:pt x="1355615" y="1377949"/>
                      </a:cubicBezTo>
                      <a:cubicBezTo>
                        <a:pt x="1347016" y="1377949"/>
                        <a:pt x="1339850" y="1371500"/>
                        <a:pt x="1339850" y="1362184"/>
                      </a:cubicBezTo>
                      <a:cubicBezTo>
                        <a:pt x="1339850" y="1353586"/>
                        <a:pt x="1347016" y="1346420"/>
                        <a:pt x="1355615" y="1346420"/>
                      </a:cubicBezTo>
                      <a:cubicBezTo>
                        <a:pt x="1355615" y="1346420"/>
                        <a:pt x="1355615" y="1346420"/>
                        <a:pt x="1411509" y="1346420"/>
                      </a:cubicBezTo>
                      <a:cubicBezTo>
                        <a:pt x="1411509" y="1346420"/>
                        <a:pt x="1411509" y="1346420"/>
                        <a:pt x="1411509" y="1290527"/>
                      </a:cubicBezTo>
                      <a:cubicBezTo>
                        <a:pt x="1411509" y="1281928"/>
                        <a:pt x="1418674" y="1274762"/>
                        <a:pt x="1427273" y="1274762"/>
                      </a:cubicBezTo>
                      <a:close/>
                      <a:moveTo>
                        <a:pt x="15765" y="1274762"/>
                      </a:moveTo>
                      <a:cubicBezTo>
                        <a:pt x="24364" y="1274762"/>
                        <a:pt x="31529" y="1281928"/>
                        <a:pt x="31529" y="1290527"/>
                      </a:cubicBezTo>
                      <a:cubicBezTo>
                        <a:pt x="31529" y="1290527"/>
                        <a:pt x="31529" y="1290527"/>
                        <a:pt x="31529" y="1346420"/>
                      </a:cubicBezTo>
                      <a:cubicBezTo>
                        <a:pt x="31529" y="1346420"/>
                        <a:pt x="31529" y="1346420"/>
                        <a:pt x="87423" y="1346420"/>
                      </a:cubicBezTo>
                      <a:cubicBezTo>
                        <a:pt x="96022" y="1346420"/>
                        <a:pt x="103188" y="1353586"/>
                        <a:pt x="103188" y="1362184"/>
                      </a:cubicBezTo>
                      <a:cubicBezTo>
                        <a:pt x="103188" y="1371500"/>
                        <a:pt x="96022" y="1377949"/>
                        <a:pt x="87423" y="1377949"/>
                      </a:cubicBezTo>
                      <a:cubicBezTo>
                        <a:pt x="87423" y="1377949"/>
                        <a:pt x="87423" y="1377949"/>
                        <a:pt x="15765" y="1377949"/>
                      </a:cubicBezTo>
                      <a:cubicBezTo>
                        <a:pt x="7166" y="1377949"/>
                        <a:pt x="0" y="1371500"/>
                        <a:pt x="0" y="1362184"/>
                      </a:cubicBezTo>
                      <a:cubicBezTo>
                        <a:pt x="0" y="1362184"/>
                        <a:pt x="0" y="1362184"/>
                        <a:pt x="0" y="1290527"/>
                      </a:cubicBezTo>
                      <a:cubicBezTo>
                        <a:pt x="0" y="1281928"/>
                        <a:pt x="7166" y="1274762"/>
                        <a:pt x="15765" y="1274762"/>
                      </a:cubicBezTo>
                      <a:close/>
                      <a:moveTo>
                        <a:pt x="502474" y="969962"/>
                      </a:moveTo>
                      <a:cubicBezTo>
                        <a:pt x="509612" y="969962"/>
                        <a:pt x="513894" y="969962"/>
                        <a:pt x="513894" y="969962"/>
                      </a:cubicBezTo>
                      <a:cubicBezTo>
                        <a:pt x="513894" y="969962"/>
                        <a:pt x="521032" y="975682"/>
                        <a:pt x="533880" y="986406"/>
                      </a:cubicBezTo>
                      <a:cubicBezTo>
                        <a:pt x="537448" y="989266"/>
                        <a:pt x="541017" y="992126"/>
                        <a:pt x="544586" y="994985"/>
                      </a:cubicBezTo>
                      <a:cubicBezTo>
                        <a:pt x="588839" y="1032163"/>
                        <a:pt x="671635" y="1100083"/>
                        <a:pt x="718030" y="1137261"/>
                      </a:cubicBezTo>
                      <a:cubicBezTo>
                        <a:pt x="720885" y="1138691"/>
                        <a:pt x="724453" y="1138691"/>
                        <a:pt x="726595" y="1136546"/>
                      </a:cubicBezTo>
                      <a:cubicBezTo>
                        <a:pt x="787264" y="1087929"/>
                        <a:pt x="860068" y="1028588"/>
                        <a:pt x="900038" y="994985"/>
                      </a:cubicBezTo>
                      <a:cubicBezTo>
                        <a:pt x="903607" y="992126"/>
                        <a:pt x="907176" y="989266"/>
                        <a:pt x="910745" y="986406"/>
                      </a:cubicBezTo>
                      <a:cubicBezTo>
                        <a:pt x="923592" y="975682"/>
                        <a:pt x="930730" y="969962"/>
                        <a:pt x="930730" y="969962"/>
                      </a:cubicBezTo>
                      <a:cubicBezTo>
                        <a:pt x="930730" y="969962"/>
                        <a:pt x="935013" y="969962"/>
                        <a:pt x="942150" y="969962"/>
                      </a:cubicBezTo>
                      <a:cubicBezTo>
                        <a:pt x="982835" y="971392"/>
                        <a:pt x="1124873" y="978542"/>
                        <a:pt x="1207669" y="1017149"/>
                      </a:cubicBezTo>
                      <a:cubicBezTo>
                        <a:pt x="1286182" y="1052897"/>
                        <a:pt x="1343283" y="1190882"/>
                        <a:pt x="1363268" y="1243789"/>
                      </a:cubicBezTo>
                      <a:cubicBezTo>
                        <a:pt x="1366837" y="1253798"/>
                        <a:pt x="1359700" y="1265237"/>
                        <a:pt x="1348279" y="1265237"/>
                      </a:cubicBezTo>
                      <a:cubicBezTo>
                        <a:pt x="1348279" y="1265237"/>
                        <a:pt x="1348279" y="1265237"/>
                        <a:pt x="96345" y="1265237"/>
                      </a:cubicBezTo>
                      <a:cubicBezTo>
                        <a:pt x="84924" y="1265237"/>
                        <a:pt x="77787" y="1253798"/>
                        <a:pt x="81356" y="1243789"/>
                      </a:cubicBezTo>
                      <a:cubicBezTo>
                        <a:pt x="101341" y="1190882"/>
                        <a:pt x="158442" y="1052897"/>
                        <a:pt x="236956" y="1017149"/>
                      </a:cubicBezTo>
                      <a:cubicBezTo>
                        <a:pt x="319752" y="978542"/>
                        <a:pt x="461790" y="971392"/>
                        <a:pt x="502474" y="969962"/>
                      </a:cubicBezTo>
                      <a:close/>
                      <a:moveTo>
                        <a:pt x="461962" y="736600"/>
                      </a:moveTo>
                      <a:cubicBezTo>
                        <a:pt x="461962" y="736600"/>
                        <a:pt x="461962" y="736600"/>
                        <a:pt x="496284" y="736600"/>
                      </a:cubicBezTo>
                      <a:cubicBezTo>
                        <a:pt x="520595" y="792846"/>
                        <a:pt x="547051" y="846955"/>
                        <a:pt x="559922" y="858347"/>
                      </a:cubicBezTo>
                      <a:cubicBezTo>
                        <a:pt x="562067" y="860483"/>
                        <a:pt x="564927" y="861907"/>
                        <a:pt x="567072" y="864043"/>
                      </a:cubicBezTo>
                      <a:cubicBezTo>
                        <a:pt x="574937" y="870450"/>
                        <a:pt x="584948" y="877570"/>
                        <a:pt x="595673" y="885402"/>
                      </a:cubicBezTo>
                      <a:cubicBezTo>
                        <a:pt x="634285" y="911033"/>
                        <a:pt x="687912" y="938800"/>
                        <a:pt x="721519" y="938800"/>
                      </a:cubicBezTo>
                      <a:cubicBezTo>
                        <a:pt x="755125" y="938800"/>
                        <a:pt x="808753" y="911033"/>
                        <a:pt x="847364" y="885402"/>
                      </a:cubicBezTo>
                      <a:cubicBezTo>
                        <a:pt x="858090" y="877570"/>
                        <a:pt x="868100" y="870450"/>
                        <a:pt x="875966" y="864043"/>
                      </a:cubicBezTo>
                      <a:cubicBezTo>
                        <a:pt x="878111" y="861907"/>
                        <a:pt x="880971" y="860483"/>
                        <a:pt x="883116" y="858347"/>
                      </a:cubicBezTo>
                      <a:cubicBezTo>
                        <a:pt x="895986" y="846955"/>
                        <a:pt x="922443" y="792846"/>
                        <a:pt x="946754" y="736600"/>
                      </a:cubicBezTo>
                      <a:cubicBezTo>
                        <a:pt x="946754" y="736600"/>
                        <a:pt x="946754" y="736600"/>
                        <a:pt x="981075" y="736600"/>
                      </a:cubicBezTo>
                      <a:cubicBezTo>
                        <a:pt x="961769" y="782878"/>
                        <a:pt x="936743" y="835564"/>
                        <a:pt x="918152" y="864043"/>
                      </a:cubicBezTo>
                      <a:cubicBezTo>
                        <a:pt x="915292" y="868315"/>
                        <a:pt x="912432" y="871874"/>
                        <a:pt x="910287" y="874722"/>
                      </a:cubicBezTo>
                      <a:cubicBezTo>
                        <a:pt x="910287" y="874722"/>
                        <a:pt x="910287" y="874722"/>
                        <a:pt x="910287" y="916728"/>
                      </a:cubicBezTo>
                      <a:cubicBezTo>
                        <a:pt x="910287" y="916728"/>
                        <a:pt x="910287" y="916728"/>
                        <a:pt x="910287" y="945919"/>
                      </a:cubicBezTo>
                      <a:cubicBezTo>
                        <a:pt x="908142" y="947343"/>
                        <a:pt x="896701" y="957311"/>
                        <a:pt x="878826" y="971550"/>
                      </a:cubicBezTo>
                      <a:lnTo>
                        <a:pt x="878826" y="939511"/>
                      </a:lnTo>
                      <a:cubicBezTo>
                        <a:pt x="878826" y="939511"/>
                        <a:pt x="878826" y="939511"/>
                        <a:pt x="878826" y="901065"/>
                      </a:cubicBezTo>
                      <a:cubicBezTo>
                        <a:pt x="869530" y="908185"/>
                        <a:pt x="858805" y="915305"/>
                        <a:pt x="847364" y="922424"/>
                      </a:cubicBezTo>
                      <a:cubicBezTo>
                        <a:pt x="807323" y="946631"/>
                        <a:pt x="757985" y="970126"/>
                        <a:pt x="721519" y="970126"/>
                      </a:cubicBezTo>
                      <a:cubicBezTo>
                        <a:pt x="685052" y="970126"/>
                        <a:pt x="635715" y="946631"/>
                        <a:pt x="595673" y="922424"/>
                      </a:cubicBezTo>
                      <a:cubicBezTo>
                        <a:pt x="584233" y="915305"/>
                        <a:pt x="573507" y="908185"/>
                        <a:pt x="564212" y="901065"/>
                      </a:cubicBezTo>
                      <a:cubicBezTo>
                        <a:pt x="564212" y="901065"/>
                        <a:pt x="564212" y="901065"/>
                        <a:pt x="564212" y="939511"/>
                      </a:cubicBezTo>
                      <a:cubicBezTo>
                        <a:pt x="564212" y="939511"/>
                        <a:pt x="564212" y="939511"/>
                        <a:pt x="564212" y="971550"/>
                      </a:cubicBezTo>
                      <a:cubicBezTo>
                        <a:pt x="547051" y="957311"/>
                        <a:pt x="534895" y="947343"/>
                        <a:pt x="532750" y="945919"/>
                      </a:cubicBezTo>
                      <a:cubicBezTo>
                        <a:pt x="532750" y="945919"/>
                        <a:pt x="532750" y="945919"/>
                        <a:pt x="532750" y="916728"/>
                      </a:cubicBezTo>
                      <a:cubicBezTo>
                        <a:pt x="532750" y="916728"/>
                        <a:pt x="532750" y="916728"/>
                        <a:pt x="532750" y="874722"/>
                      </a:cubicBezTo>
                      <a:cubicBezTo>
                        <a:pt x="530605" y="871874"/>
                        <a:pt x="527745" y="868315"/>
                        <a:pt x="524885" y="864043"/>
                      </a:cubicBezTo>
                      <a:cubicBezTo>
                        <a:pt x="506294" y="835564"/>
                        <a:pt x="481268" y="782878"/>
                        <a:pt x="461962" y="736600"/>
                      </a:cubicBezTo>
                      <a:close/>
                      <a:moveTo>
                        <a:pt x="195101" y="673100"/>
                      </a:moveTo>
                      <a:cubicBezTo>
                        <a:pt x="195101" y="673100"/>
                        <a:pt x="195101" y="673100"/>
                        <a:pt x="396526" y="673100"/>
                      </a:cubicBezTo>
                      <a:cubicBezTo>
                        <a:pt x="396526" y="673100"/>
                        <a:pt x="396526" y="673100"/>
                        <a:pt x="435810" y="673100"/>
                      </a:cubicBezTo>
                      <a:cubicBezTo>
                        <a:pt x="435810" y="673100"/>
                        <a:pt x="435810" y="673100"/>
                        <a:pt x="470095" y="673100"/>
                      </a:cubicBezTo>
                      <a:cubicBezTo>
                        <a:pt x="470095" y="673100"/>
                        <a:pt x="470095" y="673100"/>
                        <a:pt x="503666" y="673100"/>
                      </a:cubicBezTo>
                      <a:cubicBezTo>
                        <a:pt x="503666" y="673100"/>
                        <a:pt x="503666" y="673100"/>
                        <a:pt x="679377" y="673100"/>
                      </a:cubicBezTo>
                      <a:cubicBezTo>
                        <a:pt x="679377" y="673100"/>
                        <a:pt x="679377" y="673100"/>
                        <a:pt x="715090" y="673100"/>
                      </a:cubicBezTo>
                      <a:cubicBezTo>
                        <a:pt x="715090" y="673100"/>
                        <a:pt x="715090" y="673100"/>
                        <a:pt x="760804" y="673100"/>
                      </a:cubicBezTo>
                      <a:cubicBezTo>
                        <a:pt x="760804" y="673100"/>
                        <a:pt x="760804" y="673100"/>
                        <a:pt x="795803" y="673100"/>
                      </a:cubicBezTo>
                      <a:cubicBezTo>
                        <a:pt x="795803" y="673100"/>
                        <a:pt x="795803" y="673100"/>
                        <a:pt x="939371" y="673100"/>
                      </a:cubicBezTo>
                      <a:cubicBezTo>
                        <a:pt x="939371" y="673100"/>
                        <a:pt x="939371" y="673100"/>
                        <a:pt x="972942" y="673100"/>
                      </a:cubicBezTo>
                      <a:cubicBezTo>
                        <a:pt x="972942" y="673100"/>
                        <a:pt x="972942" y="673100"/>
                        <a:pt x="1007227" y="673100"/>
                      </a:cubicBezTo>
                      <a:cubicBezTo>
                        <a:pt x="1007227" y="673100"/>
                        <a:pt x="1007227" y="673100"/>
                        <a:pt x="1046512" y="673100"/>
                      </a:cubicBezTo>
                      <a:cubicBezTo>
                        <a:pt x="1046512" y="673100"/>
                        <a:pt x="1046512" y="673100"/>
                        <a:pt x="1247936" y="673100"/>
                      </a:cubicBezTo>
                      <a:cubicBezTo>
                        <a:pt x="1256507" y="673100"/>
                        <a:pt x="1263650" y="680316"/>
                        <a:pt x="1263650" y="688975"/>
                      </a:cubicBezTo>
                      <a:cubicBezTo>
                        <a:pt x="1263650" y="697634"/>
                        <a:pt x="1256507" y="704850"/>
                        <a:pt x="1247936" y="704850"/>
                      </a:cubicBezTo>
                      <a:cubicBezTo>
                        <a:pt x="1247936" y="704850"/>
                        <a:pt x="1247936" y="704850"/>
                        <a:pt x="1027941" y="704850"/>
                      </a:cubicBezTo>
                      <a:cubicBezTo>
                        <a:pt x="1027941" y="704850"/>
                        <a:pt x="1027941" y="704850"/>
                        <a:pt x="994370" y="704850"/>
                      </a:cubicBezTo>
                      <a:cubicBezTo>
                        <a:pt x="994370" y="704850"/>
                        <a:pt x="994370" y="704850"/>
                        <a:pt x="960085" y="704850"/>
                      </a:cubicBezTo>
                      <a:cubicBezTo>
                        <a:pt x="960085" y="704850"/>
                        <a:pt x="960085" y="704850"/>
                        <a:pt x="925800" y="704850"/>
                      </a:cubicBezTo>
                      <a:cubicBezTo>
                        <a:pt x="925800" y="704850"/>
                        <a:pt x="925800" y="704850"/>
                        <a:pt x="770089" y="704850"/>
                      </a:cubicBezTo>
                      <a:cubicBezTo>
                        <a:pt x="770089" y="704850"/>
                        <a:pt x="770089" y="704850"/>
                        <a:pt x="705805" y="704850"/>
                      </a:cubicBezTo>
                      <a:cubicBezTo>
                        <a:pt x="705805" y="704850"/>
                        <a:pt x="705805" y="704850"/>
                        <a:pt x="517237" y="704850"/>
                      </a:cubicBezTo>
                      <a:cubicBezTo>
                        <a:pt x="517237" y="704850"/>
                        <a:pt x="517237" y="704850"/>
                        <a:pt x="482952" y="704850"/>
                      </a:cubicBezTo>
                      <a:cubicBezTo>
                        <a:pt x="482952" y="704850"/>
                        <a:pt x="482952" y="704850"/>
                        <a:pt x="448667" y="704850"/>
                      </a:cubicBezTo>
                      <a:cubicBezTo>
                        <a:pt x="448667" y="704850"/>
                        <a:pt x="448667" y="704850"/>
                        <a:pt x="415097" y="704850"/>
                      </a:cubicBezTo>
                      <a:cubicBezTo>
                        <a:pt x="415097" y="704850"/>
                        <a:pt x="415097" y="704850"/>
                        <a:pt x="195101" y="704850"/>
                      </a:cubicBezTo>
                      <a:cubicBezTo>
                        <a:pt x="186530" y="704850"/>
                        <a:pt x="179387" y="697634"/>
                        <a:pt x="179387" y="688975"/>
                      </a:cubicBezTo>
                      <a:cubicBezTo>
                        <a:pt x="179387" y="680316"/>
                        <a:pt x="186530" y="673100"/>
                        <a:pt x="195101" y="673100"/>
                      </a:cubicBezTo>
                      <a:close/>
                      <a:moveTo>
                        <a:pt x="1062037" y="579437"/>
                      </a:moveTo>
                      <a:cubicBezTo>
                        <a:pt x="1062037" y="580140"/>
                        <a:pt x="1062037" y="580844"/>
                        <a:pt x="1062037" y="581548"/>
                      </a:cubicBezTo>
                      <a:cubicBezTo>
                        <a:pt x="1059901" y="594211"/>
                        <a:pt x="1054204" y="620243"/>
                        <a:pt x="1034263" y="641349"/>
                      </a:cubicBezTo>
                      <a:cubicBezTo>
                        <a:pt x="1034263" y="641349"/>
                        <a:pt x="1034263" y="641349"/>
                        <a:pt x="985837" y="641349"/>
                      </a:cubicBezTo>
                      <a:cubicBezTo>
                        <a:pt x="987262" y="637831"/>
                        <a:pt x="990110" y="635721"/>
                        <a:pt x="992959" y="633610"/>
                      </a:cubicBezTo>
                      <a:cubicBezTo>
                        <a:pt x="1010762" y="625167"/>
                        <a:pt x="1020733" y="609689"/>
                        <a:pt x="1025718" y="596322"/>
                      </a:cubicBezTo>
                      <a:cubicBezTo>
                        <a:pt x="1025718" y="596322"/>
                        <a:pt x="1025718" y="596322"/>
                        <a:pt x="1062037" y="579437"/>
                      </a:cubicBezTo>
                      <a:close/>
                      <a:moveTo>
                        <a:pt x="381000" y="579437"/>
                      </a:moveTo>
                      <a:cubicBezTo>
                        <a:pt x="381000" y="579437"/>
                        <a:pt x="381000" y="579437"/>
                        <a:pt x="417320" y="596322"/>
                      </a:cubicBezTo>
                      <a:cubicBezTo>
                        <a:pt x="422305" y="609689"/>
                        <a:pt x="432275" y="625167"/>
                        <a:pt x="450079" y="633610"/>
                      </a:cubicBezTo>
                      <a:cubicBezTo>
                        <a:pt x="452927" y="635721"/>
                        <a:pt x="455776" y="637831"/>
                        <a:pt x="457200" y="641349"/>
                      </a:cubicBezTo>
                      <a:cubicBezTo>
                        <a:pt x="457200" y="641349"/>
                        <a:pt x="457200" y="641349"/>
                        <a:pt x="408774" y="641349"/>
                      </a:cubicBezTo>
                      <a:cubicBezTo>
                        <a:pt x="390258" y="621650"/>
                        <a:pt x="383849" y="597729"/>
                        <a:pt x="381000" y="582955"/>
                      </a:cubicBezTo>
                      <a:cubicBezTo>
                        <a:pt x="381000" y="582251"/>
                        <a:pt x="381000" y="580844"/>
                        <a:pt x="381000" y="579437"/>
                      </a:cubicBezTo>
                      <a:close/>
                      <a:moveTo>
                        <a:pt x="1355615" y="0"/>
                      </a:moveTo>
                      <a:cubicBezTo>
                        <a:pt x="1355615" y="0"/>
                        <a:pt x="1355615" y="0"/>
                        <a:pt x="1427273" y="0"/>
                      </a:cubicBezTo>
                      <a:cubicBezTo>
                        <a:pt x="1435872" y="0"/>
                        <a:pt x="1443038" y="6449"/>
                        <a:pt x="1443038" y="15765"/>
                      </a:cubicBezTo>
                      <a:cubicBezTo>
                        <a:pt x="1443038" y="15765"/>
                        <a:pt x="1443038" y="15765"/>
                        <a:pt x="1443038" y="87422"/>
                      </a:cubicBezTo>
                      <a:cubicBezTo>
                        <a:pt x="1443038" y="96021"/>
                        <a:pt x="1435872" y="103187"/>
                        <a:pt x="1427273" y="103187"/>
                      </a:cubicBezTo>
                      <a:cubicBezTo>
                        <a:pt x="1418674" y="103187"/>
                        <a:pt x="1411509" y="96021"/>
                        <a:pt x="1411509" y="87422"/>
                      </a:cubicBezTo>
                      <a:cubicBezTo>
                        <a:pt x="1411509" y="87422"/>
                        <a:pt x="1411509" y="87422"/>
                        <a:pt x="1411509" y="31529"/>
                      </a:cubicBezTo>
                      <a:cubicBezTo>
                        <a:pt x="1411509" y="31529"/>
                        <a:pt x="1411509" y="31529"/>
                        <a:pt x="1355615" y="31529"/>
                      </a:cubicBezTo>
                      <a:cubicBezTo>
                        <a:pt x="1347016" y="31529"/>
                        <a:pt x="1339850" y="24363"/>
                        <a:pt x="1339850" y="15765"/>
                      </a:cubicBezTo>
                      <a:cubicBezTo>
                        <a:pt x="1339850" y="6449"/>
                        <a:pt x="1347016" y="0"/>
                        <a:pt x="1355615" y="0"/>
                      </a:cubicBezTo>
                      <a:close/>
                      <a:moveTo>
                        <a:pt x="15765" y="0"/>
                      </a:moveTo>
                      <a:cubicBezTo>
                        <a:pt x="15765" y="0"/>
                        <a:pt x="15765" y="0"/>
                        <a:pt x="87423" y="0"/>
                      </a:cubicBezTo>
                      <a:cubicBezTo>
                        <a:pt x="96022" y="0"/>
                        <a:pt x="103188" y="6449"/>
                        <a:pt x="103188" y="15765"/>
                      </a:cubicBezTo>
                      <a:cubicBezTo>
                        <a:pt x="103188" y="24363"/>
                        <a:pt x="96022" y="31529"/>
                        <a:pt x="87423" y="31529"/>
                      </a:cubicBezTo>
                      <a:cubicBezTo>
                        <a:pt x="87423" y="31529"/>
                        <a:pt x="87423" y="31529"/>
                        <a:pt x="31529" y="31529"/>
                      </a:cubicBezTo>
                      <a:cubicBezTo>
                        <a:pt x="31529" y="31529"/>
                        <a:pt x="31529" y="31529"/>
                        <a:pt x="31529" y="87422"/>
                      </a:cubicBezTo>
                      <a:cubicBezTo>
                        <a:pt x="31529" y="96021"/>
                        <a:pt x="24364" y="103187"/>
                        <a:pt x="15765" y="103187"/>
                      </a:cubicBezTo>
                      <a:cubicBezTo>
                        <a:pt x="7166" y="103187"/>
                        <a:pt x="0" y="96021"/>
                        <a:pt x="0" y="87422"/>
                      </a:cubicBezTo>
                      <a:cubicBezTo>
                        <a:pt x="0" y="87422"/>
                        <a:pt x="0" y="87422"/>
                        <a:pt x="0" y="15765"/>
                      </a:cubicBezTo>
                      <a:cubicBezTo>
                        <a:pt x="0" y="6449"/>
                        <a:pt x="7166" y="0"/>
                        <a:pt x="157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10" name="Group 9">
            <a:extLst>
              <a:ext uri="{FF2B5EF4-FFF2-40B4-BE49-F238E27FC236}">
                <a16:creationId xmlns:a16="http://schemas.microsoft.com/office/drawing/2014/main" id="{5F6928CB-B297-4D0E-AAC1-D7E4116242CD}"/>
              </a:ext>
            </a:extLst>
          </p:cNvPr>
          <p:cNvGrpSpPr/>
          <p:nvPr/>
        </p:nvGrpSpPr>
        <p:grpSpPr>
          <a:xfrm>
            <a:off x="-1" y="4660141"/>
            <a:ext cx="3361060" cy="738663"/>
            <a:chOff x="-1" y="4660141"/>
            <a:chExt cx="3361060" cy="738663"/>
          </a:xfrm>
        </p:grpSpPr>
        <p:sp>
          <p:nvSpPr>
            <p:cNvPr id="86" name="Rectangle: Top Corners Rounded 85">
              <a:extLst>
                <a:ext uri="{FF2B5EF4-FFF2-40B4-BE49-F238E27FC236}">
                  <a16:creationId xmlns:a16="http://schemas.microsoft.com/office/drawing/2014/main" id="{7AF2CDA3-0174-4AAC-8781-F47F68AD7B29}"/>
                </a:ext>
              </a:extLst>
            </p:cNvPr>
            <p:cNvSpPr/>
            <p:nvPr/>
          </p:nvSpPr>
          <p:spPr>
            <a:xfrm rot="5400000">
              <a:off x="1311197" y="3348943"/>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ee4pHeader1">
              <a:extLst>
                <a:ext uri="{FF2B5EF4-FFF2-40B4-BE49-F238E27FC236}">
                  <a16:creationId xmlns:a16="http://schemas.microsoft.com/office/drawing/2014/main" id="{EF97FBC2-2E30-4229-9D75-A356AE27C052}"/>
                </a:ext>
              </a:extLst>
            </p:cNvPr>
            <p:cNvSpPr txBox="1"/>
            <p:nvPr/>
          </p:nvSpPr>
          <p:spPr>
            <a:xfrm>
              <a:off x="288478" y="4752474"/>
              <a:ext cx="2923073" cy="553998"/>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Examples of groups included</a:t>
              </a:r>
            </a:p>
          </p:txBody>
        </p:sp>
        <p:grpSp>
          <p:nvGrpSpPr>
            <p:cNvPr id="101" name="Group 100">
              <a:extLst>
                <a:ext uri="{FF2B5EF4-FFF2-40B4-BE49-F238E27FC236}">
                  <a16:creationId xmlns:a16="http://schemas.microsoft.com/office/drawing/2014/main" id="{4009F30D-384B-4632-AA6F-AE2499194516}"/>
                </a:ext>
              </a:extLst>
            </p:cNvPr>
            <p:cNvGrpSpPr>
              <a:grpSpLocks noChangeAspect="1"/>
            </p:cNvGrpSpPr>
            <p:nvPr/>
          </p:nvGrpSpPr>
          <p:grpSpPr>
            <a:xfrm>
              <a:off x="318694" y="4806286"/>
              <a:ext cx="446374" cy="446374"/>
              <a:chOff x="5273803" y="2606803"/>
              <a:chExt cx="1645920" cy="1645920"/>
            </a:xfrm>
          </p:grpSpPr>
          <p:sp>
            <p:nvSpPr>
              <p:cNvPr id="102" name="AutoShape 23">
                <a:extLst>
                  <a:ext uri="{FF2B5EF4-FFF2-40B4-BE49-F238E27FC236}">
                    <a16:creationId xmlns:a16="http://schemas.microsoft.com/office/drawing/2014/main" id="{04C55FE9-0F5B-4708-80F5-734194121116}"/>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 name="Group 102">
                <a:extLst>
                  <a:ext uri="{FF2B5EF4-FFF2-40B4-BE49-F238E27FC236}">
                    <a16:creationId xmlns:a16="http://schemas.microsoft.com/office/drawing/2014/main" id="{B07F9EC5-3A38-4242-A9E1-96507F14DD81}"/>
                  </a:ext>
                </a:extLst>
              </p:cNvPr>
              <p:cNvGrpSpPr/>
              <p:nvPr/>
            </p:nvGrpSpPr>
            <p:grpSpPr>
              <a:xfrm>
                <a:off x="5484691" y="2758822"/>
                <a:ext cx="1224143" cy="1341882"/>
                <a:chOff x="5355525" y="2801969"/>
                <a:chExt cx="1522662" cy="1670659"/>
              </a:xfrm>
            </p:grpSpPr>
            <p:sp>
              <p:nvSpPr>
                <p:cNvPr id="104" name="Freeform 25">
                  <a:extLst>
                    <a:ext uri="{FF2B5EF4-FFF2-40B4-BE49-F238E27FC236}">
                      <a16:creationId xmlns:a16="http://schemas.microsoft.com/office/drawing/2014/main" id="{8A0B4826-79DC-4439-A1FB-66B8B5B26D6F}"/>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6">
                  <a:extLst>
                    <a:ext uri="{FF2B5EF4-FFF2-40B4-BE49-F238E27FC236}">
                      <a16:creationId xmlns:a16="http://schemas.microsoft.com/office/drawing/2014/main" id="{BAE75992-CD0C-4BA8-AC17-3501DDE4EA1D}"/>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113" name="Straight Connector 112">
            <a:extLst>
              <a:ext uri="{FF2B5EF4-FFF2-40B4-BE49-F238E27FC236}">
                <a16:creationId xmlns:a16="http://schemas.microsoft.com/office/drawing/2014/main" id="{8FAC4440-AC1B-4747-B90B-8A477C9C51D3}"/>
              </a:ext>
            </a:extLst>
          </p:cNvPr>
          <p:cNvCxnSpPr/>
          <p:nvPr/>
        </p:nvCxnSpPr>
        <p:spPr>
          <a:xfrm>
            <a:off x="3602381" y="4542337"/>
            <a:ext cx="830114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FB0E63FB-2934-4EDB-93D0-32F372838486}"/>
              </a:ext>
            </a:extLst>
          </p:cNvPr>
          <p:cNvCxnSpPr/>
          <p:nvPr/>
        </p:nvCxnSpPr>
        <p:spPr>
          <a:xfrm>
            <a:off x="3602381" y="2367739"/>
            <a:ext cx="830114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sp>
        <p:nvSpPr>
          <p:cNvPr id="45" name="ee4pFootnotes">
            <a:extLst>
              <a:ext uri="{FF2B5EF4-FFF2-40B4-BE49-F238E27FC236}">
                <a16:creationId xmlns:a16="http://schemas.microsoft.com/office/drawing/2014/main" id="{A36137ED-0E36-4175-B76C-646B1F5BEC99}"/>
              </a:ext>
            </a:extLst>
          </p:cNvPr>
          <p:cNvSpPr>
            <a:spLocks noChangeArrowheads="1"/>
          </p:cNvSpPr>
          <p:nvPr/>
        </p:nvSpPr>
        <p:spPr bwMode="auto">
          <a:xfrm>
            <a:off x="288478" y="6580031"/>
            <a:ext cx="11615045"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1. COVID-19 Guidance for Shared or Congregate Housing https://www.cdc.gov/coronavirus/2019-ncov/community/shared-congregate-house/guidance-shared-congregate-housing.html</a:t>
            </a:r>
          </a:p>
        </p:txBody>
      </p:sp>
      <p:grpSp>
        <p:nvGrpSpPr>
          <p:cNvPr id="47" name="Group 46">
            <a:extLst>
              <a:ext uri="{FF2B5EF4-FFF2-40B4-BE49-F238E27FC236}">
                <a16:creationId xmlns:a16="http://schemas.microsoft.com/office/drawing/2014/main" id="{8F8094F2-C734-4A95-B640-53976D9786AE}"/>
              </a:ext>
            </a:extLst>
          </p:cNvPr>
          <p:cNvGrpSpPr/>
          <p:nvPr/>
        </p:nvGrpSpPr>
        <p:grpSpPr>
          <a:xfrm>
            <a:off x="-1" y="1445448"/>
            <a:ext cx="3361060" cy="738664"/>
            <a:chOff x="-1" y="1445448"/>
            <a:chExt cx="3361060" cy="738664"/>
          </a:xfrm>
        </p:grpSpPr>
        <p:sp>
          <p:nvSpPr>
            <p:cNvPr id="48" name="Rectangle: Top Corners Rounded 47">
              <a:extLst>
                <a:ext uri="{FF2B5EF4-FFF2-40B4-BE49-F238E27FC236}">
                  <a16:creationId xmlns:a16="http://schemas.microsoft.com/office/drawing/2014/main" id="{5B5844FB-6CFC-4EB3-B988-1D95E0D193B3}"/>
                </a:ext>
              </a:extLst>
            </p:cNvPr>
            <p:cNvSpPr/>
            <p:nvPr/>
          </p:nvSpPr>
          <p:spPr>
            <a:xfrm rot="5400000">
              <a:off x="1311197" y="13425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9" name="ee4pHeader1">
              <a:extLst>
                <a:ext uri="{FF2B5EF4-FFF2-40B4-BE49-F238E27FC236}">
                  <a16:creationId xmlns:a16="http://schemas.microsoft.com/office/drawing/2014/main" id="{2BC5F046-913D-4803-8F88-645E433610F5}"/>
                </a:ext>
              </a:extLst>
            </p:cNvPr>
            <p:cNvSpPr txBox="1"/>
            <p:nvPr/>
          </p:nvSpPr>
          <p:spPr>
            <a:xfrm>
              <a:off x="288478" y="1445448"/>
              <a:ext cx="2923073" cy="738664"/>
            </a:xfrm>
            <a:prstGeom prst="rect">
              <a:avLst/>
            </a:prstGeom>
            <a:noFill/>
            <a:ln cap="rnd">
              <a:noFill/>
            </a:ln>
          </p:spPr>
          <p:txBody>
            <a:bodyPr vert="horz" wrap="square" lIns="640080" tIns="0" rIns="0" bIns="0" rtlCol="0" anchor="ctr" anchorCtr="0">
              <a:noAutofit/>
            </a:bodyPr>
            <a:lstStyle/>
            <a:p>
              <a:pPr marL="0" lvl="3"/>
              <a:r>
                <a:rPr lang="en-US" dirty="0">
                  <a:solidFill>
                    <a:srgbClr val="FFFFFF"/>
                  </a:solidFill>
                  <a:latin typeface="+mj-lt"/>
                  <a:cs typeface="Calibri" panose="020F0502020204030204" pitchFamily="34" charset="0"/>
                </a:rPr>
                <a:t>Definition </a:t>
              </a:r>
            </a:p>
          </p:txBody>
        </p:sp>
      </p:grpSp>
      <p:grpSp>
        <p:nvGrpSpPr>
          <p:cNvPr id="50" name="Group 49">
            <a:extLst>
              <a:ext uri="{FF2B5EF4-FFF2-40B4-BE49-F238E27FC236}">
                <a16:creationId xmlns:a16="http://schemas.microsoft.com/office/drawing/2014/main" id="{DFDF268F-FB32-4BF0-B4DB-9FAA472219CB}"/>
              </a:ext>
            </a:extLst>
          </p:cNvPr>
          <p:cNvGrpSpPr>
            <a:grpSpLocks noChangeAspect="1"/>
          </p:cNvGrpSpPr>
          <p:nvPr/>
        </p:nvGrpSpPr>
        <p:grpSpPr>
          <a:xfrm>
            <a:off x="318702" y="1591593"/>
            <a:ext cx="446806" cy="446374"/>
            <a:chOff x="5273675" y="2606675"/>
            <a:chExt cx="1646238" cy="1644650"/>
          </a:xfrm>
        </p:grpSpPr>
        <p:sp>
          <p:nvSpPr>
            <p:cNvPr id="51" name="AutoShape 3">
              <a:extLst>
                <a:ext uri="{FF2B5EF4-FFF2-40B4-BE49-F238E27FC236}">
                  <a16:creationId xmlns:a16="http://schemas.microsoft.com/office/drawing/2014/main" id="{97716344-ECDB-47B1-9E4F-2E0A17F38403}"/>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2" name="Group 51">
              <a:extLst>
                <a:ext uri="{FF2B5EF4-FFF2-40B4-BE49-F238E27FC236}">
                  <a16:creationId xmlns:a16="http://schemas.microsoft.com/office/drawing/2014/main" id="{522FE1F5-BE0C-4DDA-B3C8-5608C9508901}"/>
                </a:ext>
              </a:extLst>
            </p:cNvPr>
            <p:cNvGrpSpPr/>
            <p:nvPr/>
          </p:nvGrpSpPr>
          <p:grpSpPr>
            <a:xfrm>
              <a:off x="5651500" y="2971800"/>
              <a:ext cx="892175" cy="1109663"/>
              <a:chOff x="5651500" y="2971800"/>
              <a:chExt cx="892175" cy="1109663"/>
            </a:xfrm>
          </p:grpSpPr>
          <p:sp>
            <p:nvSpPr>
              <p:cNvPr id="53" name="Freeform 20">
                <a:extLst>
                  <a:ext uri="{FF2B5EF4-FFF2-40B4-BE49-F238E27FC236}">
                    <a16:creationId xmlns:a16="http://schemas.microsoft.com/office/drawing/2014/main" id="{CC5B8E1D-1528-477F-97E6-BDB31F6B3FD7}"/>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4" name="Freeform 21">
                <a:extLst>
                  <a:ext uri="{FF2B5EF4-FFF2-40B4-BE49-F238E27FC236}">
                    <a16:creationId xmlns:a16="http://schemas.microsoft.com/office/drawing/2014/main" id="{0EDB427D-0610-496C-BFD4-17FDD3480503}"/>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527164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01C74C-AE5C-42D9-83A5-8116109103C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389221"/>
            <a:ext cx="11615045" cy="664797"/>
          </a:xfrm>
          <a:prstGeom prst="rect">
            <a:avLst/>
          </a:prstGeom>
        </p:spPr>
        <p:txBody>
          <a:bodyPr>
            <a:spAutoFit/>
          </a:bodyPr>
          <a:lstStyle/>
          <a:p>
            <a:r>
              <a:rPr lang="en-US" dirty="0">
                <a:solidFill>
                  <a:schemeClr val="accent6"/>
                </a:solidFill>
              </a:rPr>
              <a:t>Phase 3 | </a:t>
            </a:r>
            <a:r>
              <a:rPr lang="en-US" dirty="0"/>
              <a:t>Aged 16-64 with </a:t>
            </a:r>
            <a:r>
              <a:rPr lang="en-US" b="1" u="sng" dirty="0"/>
              <a:t>severe</a:t>
            </a:r>
            <a:r>
              <a:rPr lang="en-US" dirty="0"/>
              <a:t> medical risks: identifying characteristics and working definition </a:t>
            </a:r>
          </a:p>
        </p:txBody>
      </p:sp>
      <p:sp>
        <p:nvSpPr>
          <p:cNvPr id="6" name="ee4pFootnotes">
            <a:extLst>
              <a:ext uri="{FF2B5EF4-FFF2-40B4-BE49-F238E27FC236}">
                <a16:creationId xmlns:a16="http://schemas.microsoft.com/office/drawing/2014/main" id="{B4D64235-AE16-4654-ABC1-1B2D5868F44C}"/>
              </a:ext>
            </a:extLst>
          </p:cNvPr>
          <p:cNvSpPr>
            <a:spLocks noChangeArrowheads="1"/>
          </p:cNvSpPr>
          <p:nvPr/>
        </p:nvSpPr>
        <p:spPr bwMode="auto">
          <a:xfrm>
            <a:off x="288478" y="6194952"/>
            <a:ext cx="1161504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1. Vaccines currently available under </a:t>
            </a:r>
            <a:r>
              <a:rPr lang="en-US" sz="1000" dirty="0" err="1">
                <a:solidFill>
                  <a:srgbClr val="000000"/>
                </a:solidFill>
                <a:latin typeface="Calibri" panose="020F0502020204030204" pitchFamily="34" charset="0"/>
                <a:sym typeface="+mn-lt"/>
              </a:rPr>
              <a:t>EUA</a:t>
            </a:r>
            <a:r>
              <a:rPr lang="en-US" sz="1000" dirty="0">
                <a:solidFill>
                  <a:srgbClr val="000000"/>
                </a:solidFill>
                <a:latin typeface="Calibri" panose="020F0502020204030204" pitchFamily="34" charset="0"/>
                <a:sym typeface="+mn-lt"/>
              </a:rPr>
              <a:t> have not been tested in pregnant women. Therefore, there are no safety data specific to use in pregnancy. A conversation with a clinician is specially important in such cases, and individuals who decide not to take the vaccine should be supported in their decision. See </a:t>
            </a:r>
            <a:r>
              <a:rPr lang="en-US" sz="1000" dirty="0">
                <a:solidFill>
                  <a:srgbClr val="000000"/>
                </a:solidFill>
                <a:latin typeface="Calibri" panose="020F0502020204030204" pitchFamily="34" charset="0"/>
                <a:sym typeface="+mn-lt"/>
                <a:hlinkClick r:id="rId7">
                  <a:extLst>
                    <a:ext uri="{A12FA001-AC4F-418D-AE19-62706E023703}">
                      <ahyp:hlinkClr xmlns:ahyp="http://schemas.microsoft.com/office/drawing/2018/hyperlinkcolor" xmlns="" val="tx"/>
                    </a:ext>
                  </a:extLst>
                </a:hlinkClick>
              </a:rPr>
              <a:t>ACOG recommendations</a:t>
            </a:r>
            <a:r>
              <a:rPr lang="en-US" sz="1000" dirty="0">
                <a:solidFill>
                  <a:srgbClr val="000000"/>
                </a:solidFill>
                <a:latin typeface="Calibri" panose="020F0502020204030204" pitchFamily="34" charset="0"/>
                <a:sym typeface="+mn-lt"/>
              </a:rPr>
              <a:t> for further information</a:t>
            </a:r>
          </a:p>
          <a:p>
            <a:pPr>
              <a:lnSpc>
                <a:spcPct val="90000"/>
              </a:lnSpc>
            </a:pPr>
            <a:r>
              <a:rPr lang="en-US" sz="1000" dirty="0">
                <a:solidFill>
                  <a:srgbClr val="000000"/>
                </a:solidFill>
                <a:latin typeface="Calibri" panose="020F0502020204030204" pitchFamily="34" charset="0"/>
                <a:sym typeface="+mn-lt"/>
              </a:rPr>
              <a:t>Sources: CDC,  "Summary of Recent Changes"  https://www.cdc.gov/coronavirus/2019-ncov/need-extra-precautions/people-with-medical-conditions.html</a:t>
            </a:r>
          </a:p>
        </p:txBody>
      </p:sp>
      <p:sp>
        <p:nvSpPr>
          <p:cNvPr id="24" name="ee4pHeader1">
            <a:extLst>
              <a:ext uri="{FF2B5EF4-FFF2-40B4-BE49-F238E27FC236}">
                <a16:creationId xmlns:a16="http://schemas.microsoft.com/office/drawing/2014/main" id="{5BD9B3A2-A7C5-43DA-B99F-C233B960B821}"/>
              </a:ext>
            </a:extLst>
          </p:cNvPr>
          <p:cNvSpPr txBox="1"/>
          <p:nvPr/>
        </p:nvSpPr>
        <p:spPr>
          <a:xfrm>
            <a:off x="3468029" y="2769758"/>
            <a:ext cx="8435493" cy="479529"/>
          </a:xfrm>
          <a:prstGeom prst="rect">
            <a:avLst/>
          </a:prstGeom>
          <a:noFill/>
          <a:ln cap="rnd">
            <a:noFill/>
          </a:ln>
        </p:spPr>
        <p:txBody>
          <a:bodyPr vert="horz" wrap="square" lIns="0" tIns="0" rIns="0" bIns="0" rtlCol="0" anchor="t" anchorCtr="0">
            <a:noAutofit/>
          </a:bodyPr>
          <a:lstStyle/>
          <a:p>
            <a:pP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Persons in the target age group who have been diagnosed with any of the conditions currently listed in the "conclusive data and information" list, </a:t>
            </a:r>
            <a:r>
              <a:rPr lang="en-US" sz="1400" dirty="0">
                <a:solidFill>
                  <a:srgbClr val="000000"/>
                </a:solidFill>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xmlns="" val="tx"/>
                    </a:ext>
                  </a:extLst>
                </a:hlinkClick>
              </a:rPr>
              <a:t>provided by the CDC </a:t>
            </a:r>
            <a:r>
              <a:rPr lang="en-US" sz="1400" dirty="0">
                <a:solidFill>
                  <a:srgbClr val="000000"/>
                </a:solidFill>
                <a:latin typeface="Calibri" panose="020F0502020204030204" pitchFamily="34" charset="0"/>
                <a:cs typeface="Calibri" panose="020F0502020204030204" pitchFamily="34" charset="0"/>
              </a:rPr>
              <a:t>(</a:t>
            </a:r>
            <a:r>
              <a:rPr lang="en-US" sz="1400" dirty="0">
                <a:solidFill>
                  <a:srgbClr val="000000"/>
                </a:solidFill>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xmlns="" val="tx"/>
                    </a:ext>
                  </a:extLst>
                </a:hlinkClick>
              </a:rPr>
              <a:t>see below</a:t>
            </a:r>
            <a:r>
              <a:rPr lang="en-US" sz="1400" dirty="0">
                <a:solidFill>
                  <a:srgbClr val="000000"/>
                </a:solidFill>
                <a:latin typeface="Calibri" panose="020F0502020204030204" pitchFamily="34" charset="0"/>
                <a:cs typeface="Calibri" panose="020F0502020204030204" pitchFamily="34" charset="0"/>
              </a:rPr>
              <a:t>)</a:t>
            </a:r>
          </a:p>
        </p:txBody>
      </p:sp>
      <p:sp>
        <p:nvSpPr>
          <p:cNvPr id="37" name="ee4pHeader1">
            <a:extLst>
              <a:ext uri="{FF2B5EF4-FFF2-40B4-BE49-F238E27FC236}">
                <a16:creationId xmlns:a16="http://schemas.microsoft.com/office/drawing/2014/main" id="{99576483-DC11-4253-A79D-8030C41DDDB7}"/>
              </a:ext>
            </a:extLst>
          </p:cNvPr>
          <p:cNvSpPr txBox="1"/>
          <p:nvPr/>
        </p:nvSpPr>
        <p:spPr>
          <a:xfrm>
            <a:off x="3468029" y="1445448"/>
            <a:ext cx="8435493" cy="738664"/>
          </a:xfrm>
          <a:prstGeom prst="rect">
            <a:avLst/>
          </a:prstGeom>
          <a:noFill/>
          <a:ln cap="rnd">
            <a:noFill/>
          </a:ln>
        </p:spPr>
        <p:txBody>
          <a:bodyPr vert="horz" wrap="square" lIns="0" tIns="0" rIns="0" bIns="0" rtlCol="0" anchor="ctr" anchorCtr="0">
            <a:noAutofit/>
          </a:bodyPr>
          <a:lstStyle/>
          <a:p>
            <a:pP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cs typeface="Calibri" panose="020F0502020204030204" pitchFamily="34" charset="0"/>
              </a:rPr>
              <a:t>Persons aged 16–64 years with medical conditions that increase the risk for severe COVID-19</a:t>
            </a:r>
          </a:p>
        </p:txBody>
      </p:sp>
      <p:sp>
        <p:nvSpPr>
          <p:cNvPr id="43" name="TextBox 42">
            <a:extLst>
              <a:ext uri="{FF2B5EF4-FFF2-40B4-BE49-F238E27FC236}">
                <a16:creationId xmlns:a16="http://schemas.microsoft.com/office/drawing/2014/main" id="{7A252306-3D77-40FD-9AB8-1540045624C6}"/>
              </a:ext>
            </a:extLst>
          </p:cNvPr>
          <p:cNvSpPr txBox="1"/>
          <p:nvPr/>
        </p:nvSpPr>
        <p:spPr>
          <a:xfrm>
            <a:off x="3468028" y="3834935"/>
            <a:ext cx="8435493" cy="21544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urrently in the list, which is regularly updated as new evidence becomes available</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ancer </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hronic kidney disease</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Chronic obstructive pulmonary disease; </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Down Syndrome</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Heart conditions, such cardiomyopathies;</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solidFill>
                <a:latin typeface="Calibri" panose="020F0502020204030204" pitchFamily="34" charset="0"/>
              </a:rPr>
              <a:t>Immunocompromised state from solid organ transplant; </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Type 2 diabetes mellitus; </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Sickle cell disease; </a:t>
            </a:r>
          </a:p>
          <a:p>
            <a:pPr marL="378000" lvl="1" indent="-252000">
              <a:buClr>
                <a:srgbClr val="051934">
                  <a:lumMod val="100000"/>
                </a:srgbClr>
              </a:buCl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rPr>
              <a:t>Pregnant patients</a:t>
            </a:r>
            <a:r>
              <a:rPr lang="en-US" sz="1400" baseline="30000" dirty="0">
                <a:solidFill>
                  <a:srgbClr val="000000">
                    <a:lumMod val="100000"/>
                  </a:srgbClr>
                </a:solidFill>
                <a:latin typeface="Calibri" panose="020F0502020204030204" pitchFamily="34" charset="0"/>
              </a:rPr>
              <a:t>1</a:t>
            </a:r>
            <a:r>
              <a:rPr lang="en-US" sz="1400" dirty="0">
                <a:solidFill>
                  <a:srgbClr val="000000">
                    <a:lumMod val="100000"/>
                  </a:srgbClr>
                </a:solidFill>
                <a:latin typeface="Calibri" panose="020F0502020204030204" pitchFamily="34" charset="0"/>
              </a:rPr>
              <a:t> </a:t>
            </a:r>
          </a:p>
        </p:txBody>
      </p:sp>
      <p:cxnSp>
        <p:nvCxnSpPr>
          <p:cNvPr id="25" name="Straight Connector 24">
            <a:extLst>
              <a:ext uri="{FF2B5EF4-FFF2-40B4-BE49-F238E27FC236}">
                <a16:creationId xmlns:a16="http://schemas.microsoft.com/office/drawing/2014/main" id="{17F5469D-5785-4FF3-999B-CB75B4AB6A3D}"/>
              </a:ext>
            </a:extLst>
          </p:cNvPr>
          <p:cNvCxnSpPr/>
          <p:nvPr/>
        </p:nvCxnSpPr>
        <p:spPr>
          <a:xfrm>
            <a:off x="3468029" y="3542110"/>
            <a:ext cx="8435493"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52B8311-ADFE-4A28-A8C6-73857A476D07}"/>
              </a:ext>
            </a:extLst>
          </p:cNvPr>
          <p:cNvCxnSpPr/>
          <p:nvPr/>
        </p:nvCxnSpPr>
        <p:spPr>
          <a:xfrm>
            <a:off x="3468029" y="2476935"/>
            <a:ext cx="8435493"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2F2A7B3-D6BB-48F6-B69F-7214E8CD27F2}"/>
              </a:ext>
            </a:extLst>
          </p:cNvPr>
          <p:cNvGrpSpPr/>
          <p:nvPr/>
        </p:nvGrpSpPr>
        <p:grpSpPr>
          <a:xfrm>
            <a:off x="-1" y="3834935"/>
            <a:ext cx="3361060" cy="738663"/>
            <a:chOff x="-1" y="4475358"/>
            <a:chExt cx="3361060" cy="738663"/>
          </a:xfrm>
        </p:grpSpPr>
        <p:sp>
          <p:nvSpPr>
            <p:cNvPr id="85" name="Rectangle: Top Corners Rounded 84">
              <a:extLst>
                <a:ext uri="{FF2B5EF4-FFF2-40B4-BE49-F238E27FC236}">
                  <a16:creationId xmlns:a16="http://schemas.microsoft.com/office/drawing/2014/main" id="{31470719-9A47-470A-B67E-02552711DF7C}"/>
                </a:ext>
              </a:extLst>
            </p:cNvPr>
            <p:cNvSpPr/>
            <p:nvPr/>
          </p:nvSpPr>
          <p:spPr>
            <a:xfrm rot="5400000">
              <a:off x="1311197" y="316416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ee4pHeader1">
              <a:extLst>
                <a:ext uri="{FF2B5EF4-FFF2-40B4-BE49-F238E27FC236}">
                  <a16:creationId xmlns:a16="http://schemas.microsoft.com/office/drawing/2014/main" id="{E7F06789-D3BC-4918-A9EF-0C0DD6FCF9E3}"/>
                </a:ext>
              </a:extLst>
            </p:cNvPr>
            <p:cNvSpPr txBox="1"/>
            <p:nvPr/>
          </p:nvSpPr>
          <p:spPr>
            <a:xfrm>
              <a:off x="288478" y="4567691"/>
              <a:ext cx="2923073" cy="553998"/>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Examples of groups included</a:t>
              </a:r>
            </a:p>
          </p:txBody>
        </p:sp>
        <p:grpSp>
          <p:nvGrpSpPr>
            <p:cNvPr id="69" name="Group 68">
              <a:extLst>
                <a:ext uri="{FF2B5EF4-FFF2-40B4-BE49-F238E27FC236}">
                  <a16:creationId xmlns:a16="http://schemas.microsoft.com/office/drawing/2014/main" id="{F8096C6B-D1DE-4DF8-8CB5-A0C6624FD588}"/>
                </a:ext>
              </a:extLst>
            </p:cNvPr>
            <p:cNvGrpSpPr>
              <a:grpSpLocks noChangeAspect="1"/>
            </p:cNvGrpSpPr>
            <p:nvPr/>
          </p:nvGrpSpPr>
          <p:grpSpPr>
            <a:xfrm>
              <a:off x="318694" y="4621503"/>
              <a:ext cx="446374" cy="446374"/>
              <a:chOff x="5273803" y="2606803"/>
              <a:chExt cx="1645920" cy="1645920"/>
            </a:xfrm>
          </p:grpSpPr>
          <p:sp>
            <p:nvSpPr>
              <p:cNvPr id="70" name="AutoShape 23">
                <a:extLst>
                  <a:ext uri="{FF2B5EF4-FFF2-40B4-BE49-F238E27FC236}">
                    <a16:creationId xmlns:a16="http://schemas.microsoft.com/office/drawing/2014/main" id="{62B18B25-0EB8-45F3-BFFF-DD6BFA36E6C0}"/>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1" name="Group 70">
                <a:extLst>
                  <a:ext uri="{FF2B5EF4-FFF2-40B4-BE49-F238E27FC236}">
                    <a16:creationId xmlns:a16="http://schemas.microsoft.com/office/drawing/2014/main" id="{2252E39A-8CC0-4F03-99B2-82590A1737F7}"/>
                  </a:ext>
                </a:extLst>
              </p:cNvPr>
              <p:cNvGrpSpPr/>
              <p:nvPr/>
            </p:nvGrpSpPr>
            <p:grpSpPr>
              <a:xfrm>
                <a:off x="5484691" y="2758822"/>
                <a:ext cx="1224143" cy="1341882"/>
                <a:chOff x="5355525" y="2801969"/>
                <a:chExt cx="1522662" cy="1670659"/>
              </a:xfrm>
            </p:grpSpPr>
            <p:sp>
              <p:nvSpPr>
                <p:cNvPr id="72" name="Freeform 25">
                  <a:extLst>
                    <a:ext uri="{FF2B5EF4-FFF2-40B4-BE49-F238E27FC236}">
                      <a16:creationId xmlns:a16="http://schemas.microsoft.com/office/drawing/2014/main" id="{50C2BBA6-A012-4188-AC95-091A6BE3DE9C}"/>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26">
                  <a:extLst>
                    <a:ext uri="{FF2B5EF4-FFF2-40B4-BE49-F238E27FC236}">
                      <a16:creationId xmlns:a16="http://schemas.microsoft.com/office/drawing/2014/main" id="{CE73B817-D84A-47E9-8073-B40D6947AE35}"/>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48" name="Group 47">
            <a:extLst>
              <a:ext uri="{FF2B5EF4-FFF2-40B4-BE49-F238E27FC236}">
                <a16:creationId xmlns:a16="http://schemas.microsoft.com/office/drawing/2014/main" id="{CD6A6313-F2AC-4B96-AE76-F1363BD7B212}"/>
              </a:ext>
            </a:extLst>
          </p:cNvPr>
          <p:cNvGrpSpPr/>
          <p:nvPr/>
        </p:nvGrpSpPr>
        <p:grpSpPr>
          <a:xfrm>
            <a:off x="-1" y="2640191"/>
            <a:ext cx="3361060" cy="738663"/>
            <a:chOff x="-1" y="2404883"/>
            <a:chExt cx="3361060" cy="738663"/>
          </a:xfrm>
        </p:grpSpPr>
        <p:sp>
          <p:nvSpPr>
            <p:cNvPr id="49" name="Rectangle: Top Corners Rounded 48">
              <a:extLst>
                <a:ext uri="{FF2B5EF4-FFF2-40B4-BE49-F238E27FC236}">
                  <a16:creationId xmlns:a16="http://schemas.microsoft.com/office/drawing/2014/main" id="{FB1D4A7D-A057-40F0-8D6F-126C4F5FE216}"/>
                </a:ext>
              </a:extLst>
            </p:cNvPr>
            <p:cNvSpPr/>
            <p:nvPr/>
          </p:nvSpPr>
          <p:spPr>
            <a:xfrm rot="5400000">
              <a:off x="1311197" y="1093685"/>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ee4pHeader1">
              <a:extLst>
                <a:ext uri="{FF2B5EF4-FFF2-40B4-BE49-F238E27FC236}">
                  <a16:creationId xmlns:a16="http://schemas.microsoft.com/office/drawing/2014/main" id="{AAAE9409-232E-473A-A460-10217C294E67}"/>
                </a:ext>
              </a:extLst>
            </p:cNvPr>
            <p:cNvSpPr txBox="1"/>
            <p:nvPr/>
          </p:nvSpPr>
          <p:spPr>
            <a:xfrm>
              <a:off x="288478" y="2635715"/>
              <a:ext cx="2923073" cy="276999"/>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Description</a:t>
              </a:r>
              <a:endParaRPr lang="en-US" dirty="0">
                <a:solidFill>
                  <a:srgbClr val="FFFFFF"/>
                </a:solidFill>
                <a:latin typeface="+mj-lt"/>
                <a:cs typeface="Calibri" panose="020F0502020204030204" pitchFamily="34" charset="0"/>
              </a:endParaRPr>
            </a:p>
          </p:txBody>
        </p:sp>
        <p:grpSp>
          <p:nvGrpSpPr>
            <p:cNvPr id="51" name="Group 50">
              <a:extLst>
                <a:ext uri="{FF2B5EF4-FFF2-40B4-BE49-F238E27FC236}">
                  <a16:creationId xmlns:a16="http://schemas.microsoft.com/office/drawing/2014/main" id="{6C41AA7F-FD9A-42F9-A683-5AB5E4B5DDB0}"/>
                </a:ext>
              </a:extLst>
            </p:cNvPr>
            <p:cNvGrpSpPr>
              <a:grpSpLocks noChangeAspect="1"/>
            </p:cNvGrpSpPr>
            <p:nvPr/>
          </p:nvGrpSpPr>
          <p:grpSpPr>
            <a:xfrm>
              <a:off x="318602" y="2551028"/>
              <a:ext cx="445944" cy="446374"/>
              <a:chOff x="5273675" y="2605088"/>
              <a:chExt cx="1644650" cy="1646237"/>
            </a:xfrm>
          </p:grpSpPr>
          <p:sp>
            <p:nvSpPr>
              <p:cNvPr id="52" name="AutoShape 13">
                <a:extLst>
                  <a:ext uri="{FF2B5EF4-FFF2-40B4-BE49-F238E27FC236}">
                    <a16:creationId xmlns:a16="http://schemas.microsoft.com/office/drawing/2014/main" id="{D3958757-6583-40F5-A2F0-7428091C4917}"/>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3" name="Group 52">
                <a:extLst>
                  <a:ext uri="{FF2B5EF4-FFF2-40B4-BE49-F238E27FC236}">
                    <a16:creationId xmlns:a16="http://schemas.microsoft.com/office/drawing/2014/main" id="{C7D1AF4A-8C3C-4B5D-B5E8-6F3F74F1F8B8}"/>
                  </a:ext>
                </a:extLst>
              </p:cNvPr>
              <p:cNvGrpSpPr/>
              <p:nvPr/>
            </p:nvGrpSpPr>
            <p:grpSpPr>
              <a:xfrm>
                <a:off x="5374481" y="2739232"/>
                <a:ext cx="1443038" cy="1377949"/>
                <a:chOff x="5373687" y="2738438"/>
                <a:chExt cx="1443038" cy="1377949"/>
              </a:xfrm>
            </p:grpSpPr>
            <p:sp>
              <p:nvSpPr>
                <p:cNvPr id="54" name="Freeform 15">
                  <a:extLst>
                    <a:ext uri="{FF2B5EF4-FFF2-40B4-BE49-F238E27FC236}">
                      <a16:creationId xmlns:a16="http://schemas.microsoft.com/office/drawing/2014/main" id="{8DFBCED0-131E-4F94-9189-BF85153B57DC}"/>
                    </a:ext>
                  </a:extLst>
                </p:cNvPr>
                <p:cNvSpPr>
                  <a:spLocks noEditPoints="1"/>
                </p:cNvSpPr>
                <p:nvPr/>
              </p:nvSpPr>
              <p:spPr bwMode="auto">
                <a:xfrm>
                  <a:off x="5737225" y="2797175"/>
                  <a:ext cx="701675" cy="582612"/>
                </a:xfrm>
                <a:custGeom>
                  <a:avLst/>
                  <a:gdLst>
                    <a:gd name="T0" fmla="*/ 958 w 983"/>
                    <a:gd name="T1" fmla="*/ 576 h 816"/>
                    <a:gd name="T2" fmla="*/ 960 w 983"/>
                    <a:gd name="T3" fmla="*/ 487 h 816"/>
                    <a:gd name="T4" fmla="*/ 139 w 983"/>
                    <a:gd name="T5" fmla="*/ 142 h 816"/>
                    <a:gd name="T6" fmla="*/ 31 w 983"/>
                    <a:gd name="T7" fmla="*/ 692 h 816"/>
                    <a:gd name="T8" fmla="*/ 48 w 983"/>
                    <a:gd name="T9" fmla="*/ 700 h 816"/>
                    <a:gd name="T10" fmla="*/ 62 w 983"/>
                    <a:gd name="T11" fmla="*/ 695 h 816"/>
                    <a:gd name="T12" fmla="*/ 65 w 983"/>
                    <a:gd name="T13" fmla="*/ 664 h 816"/>
                    <a:gd name="T14" fmla="*/ 87 w 983"/>
                    <a:gd name="T15" fmla="*/ 291 h 816"/>
                    <a:gd name="T16" fmla="*/ 212 w 983"/>
                    <a:gd name="T17" fmla="*/ 414 h 816"/>
                    <a:gd name="T18" fmla="*/ 155 w 983"/>
                    <a:gd name="T19" fmla="*/ 455 h 816"/>
                    <a:gd name="T20" fmla="*/ 242 w 983"/>
                    <a:gd name="T21" fmla="*/ 455 h 816"/>
                    <a:gd name="T22" fmla="*/ 330 w 983"/>
                    <a:gd name="T23" fmla="*/ 364 h 816"/>
                    <a:gd name="T24" fmla="*/ 353 w 983"/>
                    <a:gd name="T25" fmla="*/ 365 h 816"/>
                    <a:gd name="T26" fmla="*/ 408 w 983"/>
                    <a:gd name="T27" fmla="*/ 467 h 816"/>
                    <a:gd name="T28" fmla="*/ 376 w 983"/>
                    <a:gd name="T29" fmla="*/ 659 h 816"/>
                    <a:gd name="T30" fmla="*/ 349 w 983"/>
                    <a:gd name="T31" fmla="*/ 679 h 816"/>
                    <a:gd name="T32" fmla="*/ 170 w 983"/>
                    <a:gd name="T33" fmla="*/ 675 h 816"/>
                    <a:gd name="T34" fmla="*/ 122 w 983"/>
                    <a:gd name="T35" fmla="*/ 676 h 816"/>
                    <a:gd name="T36" fmla="*/ 104 w 983"/>
                    <a:gd name="T37" fmla="*/ 712 h 816"/>
                    <a:gd name="T38" fmla="*/ 147 w 983"/>
                    <a:gd name="T39" fmla="*/ 755 h 816"/>
                    <a:gd name="T40" fmla="*/ 348 w 983"/>
                    <a:gd name="T41" fmla="*/ 723 h 816"/>
                    <a:gd name="T42" fmla="*/ 417 w 983"/>
                    <a:gd name="T43" fmla="*/ 816 h 816"/>
                    <a:gd name="T44" fmla="*/ 420 w 983"/>
                    <a:gd name="T45" fmla="*/ 729 h 816"/>
                    <a:gd name="T46" fmla="*/ 474 w 983"/>
                    <a:gd name="T47" fmla="*/ 740 h 816"/>
                    <a:gd name="T48" fmla="*/ 558 w 983"/>
                    <a:gd name="T49" fmla="*/ 739 h 816"/>
                    <a:gd name="T50" fmla="*/ 617 w 983"/>
                    <a:gd name="T51" fmla="*/ 735 h 816"/>
                    <a:gd name="T52" fmla="*/ 626 w 983"/>
                    <a:gd name="T53" fmla="*/ 816 h 816"/>
                    <a:gd name="T54" fmla="*/ 682 w 983"/>
                    <a:gd name="T55" fmla="*/ 725 h 816"/>
                    <a:gd name="T56" fmla="*/ 852 w 983"/>
                    <a:gd name="T57" fmla="*/ 765 h 816"/>
                    <a:gd name="T58" fmla="*/ 896 w 983"/>
                    <a:gd name="T59" fmla="*/ 721 h 816"/>
                    <a:gd name="T60" fmla="*/ 852 w 983"/>
                    <a:gd name="T61" fmla="*/ 678 h 816"/>
                    <a:gd name="T62" fmla="*/ 683 w 983"/>
                    <a:gd name="T63" fmla="*/ 680 h 816"/>
                    <a:gd name="T64" fmla="*/ 654 w 983"/>
                    <a:gd name="T65" fmla="*/ 659 h 816"/>
                    <a:gd name="T66" fmla="*/ 613 w 983"/>
                    <a:gd name="T67" fmla="*/ 467 h 816"/>
                    <a:gd name="T68" fmla="*/ 674 w 983"/>
                    <a:gd name="T69" fmla="*/ 366 h 816"/>
                    <a:gd name="T70" fmla="*/ 695 w 983"/>
                    <a:gd name="T71" fmla="*/ 361 h 816"/>
                    <a:gd name="T72" fmla="*/ 765 w 983"/>
                    <a:gd name="T73" fmla="*/ 437 h 816"/>
                    <a:gd name="T74" fmla="*/ 852 w 983"/>
                    <a:gd name="T75" fmla="*/ 437 h 816"/>
                    <a:gd name="T76" fmla="*/ 796 w 983"/>
                    <a:gd name="T77" fmla="*/ 395 h 816"/>
                    <a:gd name="T78" fmla="*/ 870 w 983"/>
                    <a:gd name="T79" fmla="*/ 286 h 816"/>
                    <a:gd name="T80" fmla="*/ 916 w 983"/>
                    <a:gd name="T81" fmla="*/ 505 h 816"/>
                    <a:gd name="T82" fmla="*/ 914 w 983"/>
                    <a:gd name="T83" fmla="*/ 572 h 816"/>
                    <a:gd name="T84" fmla="*/ 939 w 983"/>
                    <a:gd name="T85" fmla="*/ 668 h 816"/>
                    <a:gd name="T86" fmla="*/ 977 w 983"/>
                    <a:gd name="T87" fmla="*/ 647 h 816"/>
                    <a:gd name="T88" fmla="*/ 612 w 983"/>
                    <a:gd name="T89" fmla="*/ 673 h 816"/>
                    <a:gd name="T90" fmla="*/ 547 w 983"/>
                    <a:gd name="T91" fmla="*/ 696 h 816"/>
                    <a:gd name="T92" fmla="*/ 484 w 983"/>
                    <a:gd name="T93" fmla="*/ 697 h 816"/>
                    <a:gd name="T94" fmla="*/ 418 w 983"/>
                    <a:gd name="T95" fmla="*/ 673 h 816"/>
                    <a:gd name="T96" fmla="*/ 468 w 983"/>
                    <a:gd name="T97" fmla="*/ 507 h 816"/>
                    <a:gd name="T98" fmla="*/ 532 w 983"/>
                    <a:gd name="T99" fmla="*/ 489 h 816"/>
                    <a:gd name="T100" fmla="*/ 609 w 983"/>
                    <a:gd name="T101" fmla="*/ 665 h 816"/>
                    <a:gd name="T102" fmla="*/ 569 w 983"/>
                    <a:gd name="T103" fmla="*/ 423 h 816"/>
                    <a:gd name="T104" fmla="*/ 489 w 983"/>
                    <a:gd name="T105" fmla="*/ 445 h 816"/>
                    <a:gd name="T106" fmla="*/ 390 w 983"/>
                    <a:gd name="T107" fmla="*/ 341 h 816"/>
                    <a:gd name="T108" fmla="*/ 636 w 983"/>
                    <a:gd name="T109" fmla="*/ 343 h 816"/>
                    <a:gd name="T110" fmla="*/ 703 w 983"/>
                    <a:gd name="T111" fmla="*/ 290 h 816"/>
                    <a:gd name="T112" fmla="*/ 639 w 983"/>
                    <a:gd name="T113" fmla="*/ 297 h 816"/>
                    <a:gd name="T114" fmla="*/ 344 w 983"/>
                    <a:gd name="T115" fmla="*/ 279 h 816"/>
                    <a:gd name="T116" fmla="*/ 109 w 983"/>
                    <a:gd name="T117" fmla="*/ 251 h 816"/>
                    <a:gd name="T118" fmla="*/ 848 w 983"/>
                    <a:gd name="T119" fmla="*/ 24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3" h="816">
                      <a:moveTo>
                        <a:pt x="977" y="647"/>
                      </a:moveTo>
                      <a:cubicBezTo>
                        <a:pt x="958" y="612"/>
                        <a:pt x="957" y="586"/>
                        <a:pt x="958" y="576"/>
                      </a:cubicBezTo>
                      <a:cubicBezTo>
                        <a:pt x="960" y="552"/>
                        <a:pt x="960" y="528"/>
                        <a:pt x="960" y="505"/>
                      </a:cubicBezTo>
                      <a:cubicBezTo>
                        <a:pt x="960" y="499"/>
                        <a:pt x="960" y="493"/>
                        <a:pt x="960" y="487"/>
                      </a:cubicBezTo>
                      <a:cubicBezTo>
                        <a:pt x="960" y="214"/>
                        <a:pt x="749" y="0"/>
                        <a:pt x="481" y="0"/>
                      </a:cubicBezTo>
                      <a:cubicBezTo>
                        <a:pt x="350" y="0"/>
                        <a:pt x="229" y="50"/>
                        <a:pt x="139" y="142"/>
                      </a:cubicBezTo>
                      <a:cubicBezTo>
                        <a:pt x="49" y="234"/>
                        <a:pt x="0" y="356"/>
                        <a:pt x="0" y="487"/>
                      </a:cubicBezTo>
                      <a:cubicBezTo>
                        <a:pt x="0" y="489"/>
                        <a:pt x="2" y="657"/>
                        <a:pt x="31" y="692"/>
                      </a:cubicBezTo>
                      <a:cubicBezTo>
                        <a:pt x="33" y="694"/>
                        <a:pt x="35" y="696"/>
                        <a:pt x="37" y="697"/>
                      </a:cubicBezTo>
                      <a:cubicBezTo>
                        <a:pt x="41" y="699"/>
                        <a:pt x="45" y="700"/>
                        <a:pt x="48" y="700"/>
                      </a:cubicBezTo>
                      <a:cubicBezTo>
                        <a:pt x="49" y="700"/>
                        <a:pt x="49" y="700"/>
                        <a:pt x="50" y="700"/>
                      </a:cubicBezTo>
                      <a:cubicBezTo>
                        <a:pt x="54" y="699"/>
                        <a:pt x="59" y="698"/>
                        <a:pt x="62" y="695"/>
                      </a:cubicBezTo>
                      <a:cubicBezTo>
                        <a:pt x="68" y="690"/>
                        <a:pt x="70" y="684"/>
                        <a:pt x="70" y="677"/>
                      </a:cubicBezTo>
                      <a:cubicBezTo>
                        <a:pt x="70" y="672"/>
                        <a:pt x="68" y="668"/>
                        <a:pt x="65" y="664"/>
                      </a:cubicBezTo>
                      <a:cubicBezTo>
                        <a:pt x="55" y="650"/>
                        <a:pt x="44" y="555"/>
                        <a:pt x="44" y="487"/>
                      </a:cubicBezTo>
                      <a:cubicBezTo>
                        <a:pt x="44" y="416"/>
                        <a:pt x="60" y="350"/>
                        <a:pt x="87" y="291"/>
                      </a:cubicBezTo>
                      <a:cubicBezTo>
                        <a:pt x="299" y="333"/>
                        <a:pt x="299" y="333"/>
                        <a:pt x="299" y="333"/>
                      </a:cubicBezTo>
                      <a:cubicBezTo>
                        <a:pt x="212" y="414"/>
                        <a:pt x="212" y="414"/>
                        <a:pt x="212" y="414"/>
                      </a:cubicBezTo>
                      <a:cubicBezTo>
                        <a:pt x="207" y="413"/>
                        <a:pt x="203" y="412"/>
                        <a:pt x="198" y="412"/>
                      </a:cubicBezTo>
                      <a:cubicBezTo>
                        <a:pt x="174" y="412"/>
                        <a:pt x="155" y="431"/>
                        <a:pt x="155" y="455"/>
                      </a:cubicBezTo>
                      <a:cubicBezTo>
                        <a:pt x="155" y="479"/>
                        <a:pt x="174" y="499"/>
                        <a:pt x="198" y="499"/>
                      </a:cubicBezTo>
                      <a:cubicBezTo>
                        <a:pt x="222" y="499"/>
                        <a:pt x="242" y="479"/>
                        <a:pt x="242" y="455"/>
                      </a:cubicBezTo>
                      <a:cubicBezTo>
                        <a:pt x="242" y="452"/>
                        <a:pt x="242" y="449"/>
                        <a:pt x="241" y="447"/>
                      </a:cubicBezTo>
                      <a:cubicBezTo>
                        <a:pt x="330" y="364"/>
                        <a:pt x="330" y="364"/>
                        <a:pt x="330" y="364"/>
                      </a:cubicBezTo>
                      <a:cubicBezTo>
                        <a:pt x="335" y="365"/>
                        <a:pt x="339" y="366"/>
                        <a:pt x="344" y="366"/>
                      </a:cubicBezTo>
                      <a:cubicBezTo>
                        <a:pt x="347" y="366"/>
                        <a:pt x="350" y="366"/>
                        <a:pt x="353" y="365"/>
                      </a:cubicBezTo>
                      <a:cubicBezTo>
                        <a:pt x="413" y="445"/>
                        <a:pt x="413" y="445"/>
                        <a:pt x="413" y="445"/>
                      </a:cubicBezTo>
                      <a:cubicBezTo>
                        <a:pt x="410" y="451"/>
                        <a:pt x="408" y="459"/>
                        <a:pt x="408" y="467"/>
                      </a:cubicBezTo>
                      <a:cubicBezTo>
                        <a:pt x="408" y="481"/>
                        <a:pt x="414" y="493"/>
                        <a:pt x="424" y="501"/>
                      </a:cubicBezTo>
                      <a:cubicBezTo>
                        <a:pt x="376" y="659"/>
                        <a:pt x="376" y="659"/>
                        <a:pt x="376" y="659"/>
                      </a:cubicBezTo>
                      <a:cubicBezTo>
                        <a:pt x="368" y="661"/>
                        <a:pt x="361" y="665"/>
                        <a:pt x="355" y="671"/>
                      </a:cubicBezTo>
                      <a:cubicBezTo>
                        <a:pt x="353" y="673"/>
                        <a:pt x="350" y="676"/>
                        <a:pt x="349" y="679"/>
                      </a:cubicBezTo>
                      <a:cubicBezTo>
                        <a:pt x="184" y="689"/>
                        <a:pt x="184" y="689"/>
                        <a:pt x="184" y="689"/>
                      </a:cubicBezTo>
                      <a:cubicBezTo>
                        <a:pt x="181" y="683"/>
                        <a:pt x="176" y="679"/>
                        <a:pt x="170" y="675"/>
                      </a:cubicBezTo>
                      <a:cubicBezTo>
                        <a:pt x="164" y="671"/>
                        <a:pt x="156" y="668"/>
                        <a:pt x="147" y="668"/>
                      </a:cubicBezTo>
                      <a:cubicBezTo>
                        <a:pt x="138" y="668"/>
                        <a:pt x="129" y="671"/>
                        <a:pt x="122" y="676"/>
                      </a:cubicBezTo>
                      <a:cubicBezTo>
                        <a:pt x="113" y="683"/>
                        <a:pt x="106" y="694"/>
                        <a:pt x="104" y="706"/>
                      </a:cubicBezTo>
                      <a:cubicBezTo>
                        <a:pt x="104" y="708"/>
                        <a:pt x="104" y="710"/>
                        <a:pt x="104" y="712"/>
                      </a:cubicBezTo>
                      <a:cubicBezTo>
                        <a:pt x="104" y="726"/>
                        <a:pt x="110" y="738"/>
                        <a:pt x="121" y="746"/>
                      </a:cubicBezTo>
                      <a:cubicBezTo>
                        <a:pt x="128" y="752"/>
                        <a:pt x="137" y="755"/>
                        <a:pt x="147" y="755"/>
                      </a:cubicBezTo>
                      <a:cubicBezTo>
                        <a:pt x="164" y="755"/>
                        <a:pt x="178" y="746"/>
                        <a:pt x="185" y="733"/>
                      </a:cubicBezTo>
                      <a:cubicBezTo>
                        <a:pt x="348" y="723"/>
                        <a:pt x="348" y="723"/>
                        <a:pt x="348" y="723"/>
                      </a:cubicBezTo>
                      <a:cubicBezTo>
                        <a:pt x="354" y="734"/>
                        <a:pt x="365" y="743"/>
                        <a:pt x="378" y="745"/>
                      </a:cubicBezTo>
                      <a:cubicBezTo>
                        <a:pt x="417" y="816"/>
                        <a:pt x="417" y="816"/>
                        <a:pt x="417" y="816"/>
                      </a:cubicBezTo>
                      <a:cubicBezTo>
                        <a:pt x="468" y="816"/>
                        <a:pt x="468" y="816"/>
                        <a:pt x="468" y="816"/>
                      </a:cubicBezTo>
                      <a:cubicBezTo>
                        <a:pt x="420" y="729"/>
                        <a:pt x="420" y="729"/>
                        <a:pt x="420" y="729"/>
                      </a:cubicBezTo>
                      <a:cubicBezTo>
                        <a:pt x="420" y="729"/>
                        <a:pt x="420" y="728"/>
                        <a:pt x="420" y="728"/>
                      </a:cubicBezTo>
                      <a:cubicBezTo>
                        <a:pt x="474" y="740"/>
                        <a:pt x="474" y="740"/>
                        <a:pt x="474" y="740"/>
                      </a:cubicBezTo>
                      <a:cubicBezTo>
                        <a:pt x="480" y="758"/>
                        <a:pt x="496" y="771"/>
                        <a:pt x="516" y="771"/>
                      </a:cubicBezTo>
                      <a:cubicBezTo>
                        <a:pt x="536" y="771"/>
                        <a:pt x="553" y="757"/>
                        <a:pt x="558" y="739"/>
                      </a:cubicBezTo>
                      <a:cubicBezTo>
                        <a:pt x="610" y="728"/>
                        <a:pt x="610" y="728"/>
                        <a:pt x="610" y="728"/>
                      </a:cubicBezTo>
                      <a:cubicBezTo>
                        <a:pt x="612" y="731"/>
                        <a:pt x="614" y="733"/>
                        <a:pt x="617" y="735"/>
                      </a:cubicBezTo>
                      <a:cubicBezTo>
                        <a:pt x="577" y="816"/>
                        <a:pt x="577" y="816"/>
                        <a:pt x="577" y="816"/>
                      </a:cubicBezTo>
                      <a:cubicBezTo>
                        <a:pt x="626" y="816"/>
                        <a:pt x="626" y="816"/>
                        <a:pt x="626" y="816"/>
                      </a:cubicBezTo>
                      <a:cubicBezTo>
                        <a:pt x="663" y="741"/>
                        <a:pt x="663" y="741"/>
                        <a:pt x="663" y="741"/>
                      </a:cubicBezTo>
                      <a:cubicBezTo>
                        <a:pt x="671" y="738"/>
                        <a:pt x="677" y="732"/>
                        <a:pt x="682" y="725"/>
                      </a:cubicBezTo>
                      <a:cubicBezTo>
                        <a:pt x="812" y="738"/>
                        <a:pt x="812" y="738"/>
                        <a:pt x="812" y="738"/>
                      </a:cubicBezTo>
                      <a:cubicBezTo>
                        <a:pt x="818" y="754"/>
                        <a:pt x="834" y="765"/>
                        <a:pt x="852" y="765"/>
                      </a:cubicBezTo>
                      <a:cubicBezTo>
                        <a:pt x="858" y="765"/>
                        <a:pt x="863" y="764"/>
                        <a:pt x="868" y="762"/>
                      </a:cubicBezTo>
                      <a:cubicBezTo>
                        <a:pt x="884" y="755"/>
                        <a:pt x="896" y="740"/>
                        <a:pt x="896" y="721"/>
                      </a:cubicBezTo>
                      <a:cubicBezTo>
                        <a:pt x="896" y="717"/>
                        <a:pt x="895" y="713"/>
                        <a:pt x="894" y="709"/>
                      </a:cubicBezTo>
                      <a:cubicBezTo>
                        <a:pt x="889" y="691"/>
                        <a:pt x="872" y="678"/>
                        <a:pt x="852" y="678"/>
                      </a:cubicBezTo>
                      <a:cubicBezTo>
                        <a:pt x="838" y="678"/>
                        <a:pt x="826" y="684"/>
                        <a:pt x="818" y="694"/>
                      </a:cubicBezTo>
                      <a:cubicBezTo>
                        <a:pt x="683" y="680"/>
                        <a:pt x="683" y="680"/>
                        <a:pt x="683" y="680"/>
                      </a:cubicBezTo>
                      <a:cubicBezTo>
                        <a:pt x="679" y="674"/>
                        <a:pt x="673" y="668"/>
                        <a:pt x="666" y="664"/>
                      </a:cubicBezTo>
                      <a:cubicBezTo>
                        <a:pt x="662" y="662"/>
                        <a:pt x="658" y="660"/>
                        <a:pt x="654" y="659"/>
                      </a:cubicBezTo>
                      <a:cubicBezTo>
                        <a:pt x="598" y="499"/>
                        <a:pt x="598" y="499"/>
                        <a:pt x="598" y="499"/>
                      </a:cubicBezTo>
                      <a:cubicBezTo>
                        <a:pt x="607" y="491"/>
                        <a:pt x="613" y="480"/>
                        <a:pt x="613" y="467"/>
                      </a:cubicBezTo>
                      <a:cubicBezTo>
                        <a:pt x="613" y="459"/>
                        <a:pt x="611" y="453"/>
                        <a:pt x="608" y="447"/>
                      </a:cubicBezTo>
                      <a:cubicBezTo>
                        <a:pt x="674" y="366"/>
                        <a:pt x="674" y="366"/>
                        <a:pt x="674" y="366"/>
                      </a:cubicBezTo>
                      <a:cubicBezTo>
                        <a:pt x="674" y="366"/>
                        <a:pt x="674" y="366"/>
                        <a:pt x="674" y="366"/>
                      </a:cubicBezTo>
                      <a:cubicBezTo>
                        <a:pt x="682" y="366"/>
                        <a:pt x="689" y="364"/>
                        <a:pt x="695" y="361"/>
                      </a:cubicBezTo>
                      <a:cubicBezTo>
                        <a:pt x="766" y="427"/>
                        <a:pt x="766" y="427"/>
                        <a:pt x="766" y="427"/>
                      </a:cubicBezTo>
                      <a:cubicBezTo>
                        <a:pt x="765" y="430"/>
                        <a:pt x="765" y="433"/>
                        <a:pt x="765" y="437"/>
                      </a:cubicBezTo>
                      <a:cubicBezTo>
                        <a:pt x="765" y="461"/>
                        <a:pt x="785" y="480"/>
                        <a:pt x="809" y="480"/>
                      </a:cubicBezTo>
                      <a:cubicBezTo>
                        <a:pt x="833" y="480"/>
                        <a:pt x="852" y="461"/>
                        <a:pt x="852" y="437"/>
                      </a:cubicBezTo>
                      <a:cubicBezTo>
                        <a:pt x="852" y="413"/>
                        <a:pt x="833" y="393"/>
                        <a:pt x="809" y="393"/>
                      </a:cubicBezTo>
                      <a:cubicBezTo>
                        <a:pt x="804" y="393"/>
                        <a:pt x="800" y="394"/>
                        <a:pt x="796" y="395"/>
                      </a:cubicBezTo>
                      <a:cubicBezTo>
                        <a:pt x="726" y="329"/>
                        <a:pt x="726" y="329"/>
                        <a:pt x="726" y="329"/>
                      </a:cubicBezTo>
                      <a:cubicBezTo>
                        <a:pt x="870" y="286"/>
                        <a:pt x="870" y="286"/>
                        <a:pt x="870" y="286"/>
                      </a:cubicBezTo>
                      <a:cubicBezTo>
                        <a:pt x="899" y="346"/>
                        <a:pt x="916" y="414"/>
                        <a:pt x="916" y="487"/>
                      </a:cubicBezTo>
                      <a:cubicBezTo>
                        <a:pt x="916" y="493"/>
                        <a:pt x="916" y="499"/>
                        <a:pt x="916" y="505"/>
                      </a:cubicBezTo>
                      <a:cubicBezTo>
                        <a:pt x="916" y="528"/>
                        <a:pt x="916" y="550"/>
                        <a:pt x="914" y="572"/>
                      </a:cubicBezTo>
                      <a:cubicBezTo>
                        <a:pt x="914" y="572"/>
                        <a:pt x="914" y="572"/>
                        <a:pt x="914" y="572"/>
                      </a:cubicBezTo>
                      <a:cubicBezTo>
                        <a:pt x="912" y="598"/>
                        <a:pt x="919" y="629"/>
                        <a:pt x="933" y="658"/>
                      </a:cubicBezTo>
                      <a:cubicBezTo>
                        <a:pt x="935" y="661"/>
                        <a:pt x="937" y="665"/>
                        <a:pt x="939" y="668"/>
                      </a:cubicBezTo>
                      <a:cubicBezTo>
                        <a:pt x="945" y="679"/>
                        <a:pt x="958" y="683"/>
                        <a:pt x="969" y="677"/>
                      </a:cubicBezTo>
                      <a:cubicBezTo>
                        <a:pt x="979" y="671"/>
                        <a:pt x="983" y="657"/>
                        <a:pt x="977" y="647"/>
                      </a:cubicBezTo>
                      <a:close/>
                      <a:moveTo>
                        <a:pt x="609" y="665"/>
                      </a:moveTo>
                      <a:cubicBezTo>
                        <a:pt x="612" y="673"/>
                        <a:pt x="612" y="673"/>
                        <a:pt x="612" y="673"/>
                      </a:cubicBezTo>
                      <a:cubicBezTo>
                        <a:pt x="609" y="677"/>
                        <a:pt x="607" y="680"/>
                        <a:pt x="605" y="684"/>
                      </a:cubicBezTo>
                      <a:cubicBezTo>
                        <a:pt x="547" y="696"/>
                        <a:pt x="547" y="696"/>
                        <a:pt x="547" y="696"/>
                      </a:cubicBezTo>
                      <a:cubicBezTo>
                        <a:pt x="539" y="688"/>
                        <a:pt x="528" y="684"/>
                        <a:pt x="516" y="684"/>
                      </a:cubicBezTo>
                      <a:cubicBezTo>
                        <a:pt x="503" y="684"/>
                        <a:pt x="492" y="689"/>
                        <a:pt x="484" y="697"/>
                      </a:cubicBezTo>
                      <a:cubicBezTo>
                        <a:pt x="425" y="684"/>
                        <a:pt x="425" y="684"/>
                        <a:pt x="425" y="684"/>
                      </a:cubicBezTo>
                      <a:cubicBezTo>
                        <a:pt x="424" y="680"/>
                        <a:pt x="421" y="676"/>
                        <a:pt x="418" y="673"/>
                      </a:cubicBezTo>
                      <a:cubicBezTo>
                        <a:pt x="419" y="669"/>
                        <a:pt x="419" y="669"/>
                        <a:pt x="419" y="669"/>
                      </a:cubicBezTo>
                      <a:cubicBezTo>
                        <a:pt x="468" y="507"/>
                        <a:pt x="468" y="507"/>
                        <a:pt x="468" y="507"/>
                      </a:cubicBezTo>
                      <a:cubicBezTo>
                        <a:pt x="477" y="503"/>
                        <a:pt x="484" y="497"/>
                        <a:pt x="489" y="489"/>
                      </a:cubicBezTo>
                      <a:cubicBezTo>
                        <a:pt x="532" y="489"/>
                        <a:pt x="532" y="489"/>
                        <a:pt x="532" y="489"/>
                      </a:cubicBezTo>
                      <a:cubicBezTo>
                        <a:pt x="537" y="497"/>
                        <a:pt x="545" y="504"/>
                        <a:pt x="554" y="507"/>
                      </a:cubicBezTo>
                      <a:lnTo>
                        <a:pt x="609" y="665"/>
                      </a:lnTo>
                      <a:close/>
                      <a:moveTo>
                        <a:pt x="570" y="423"/>
                      </a:moveTo>
                      <a:cubicBezTo>
                        <a:pt x="570" y="423"/>
                        <a:pt x="570" y="423"/>
                        <a:pt x="569" y="423"/>
                      </a:cubicBezTo>
                      <a:cubicBezTo>
                        <a:pt x="553" y="423"/>
                        <a:pt x="539" y="432"/>
                        <a:pt x="532" y="445"/>
                      </a:cubicBezTo>
                      <a:cubicBezTo>
                        <a:pt x="489" y="445"/>
                        <a:pt x="489" y="445"/>
                        <a:pt x="489" y="445"/>
                      </a:cubicBezTo>
                      <a:cubicBezTo>
                        <a:pt x="481" y="432"/>
                        <a:pt x="468" y="424"/>
                        <a:pt x="452" y="423"/>
                      </a:cubicBezTo>
                      <a:cubicBezTo>
                        <a:pt x="390" y="341"/>
                        <a:pt x="390" y="341"/>
                        <a:pt x="390" y="341"/>
                      </a:cubicBezTo>
                      <a:cubicBezTo>
                        <a:pt x="635" y="341"/>
                        <a:pt x="635" y="341"/>
                        <a:pt x="635" y="341"/>
                      </a:cubicBezTo>
                      <a:cubicBezTo>
                        <a:pt x="635" y="342"/>
                        <a:pt x="636" y="342"/>
                        <a:pt x="636" y="343"/>
                      </a:cubicBezTo>
                      <a:lnTo>
                        <a:pt x="570" y="423"/>
                      </a:lnTo>
                      <a:close/>
                      <a:moveTo>
                        <a:pt x="703" y="290"/>
                      </a:moveTo>
                      <a:cubicBezTo>
                        <a:pt x="696" y="283"/>
                        <a:pt x="686" y="279"/>
                        <a:pt x="674" y="279"/>
                      </a:cubicBezTo>
                      <a:cubicBezTo>
                        <a:pt x="660" y="279"/>
                        <a:pt x="647" y="286"/>
                        <a:pt x="639" y="297"/>
                      </a:cubicBezTo>
                      <a:cubicBezTo>
                        <a:pt x="380" y="297"/>
                        <a:pt x="380" y="297"/>
                        <a:pt x="380" y="297"/>
                      </a:cubicBezTo>
                      <a:cubicBezTo>
                        <a:pt x="372" y="286"/>
                        <a:pt x="359" y="279"/>
                        <a:pt x="344" y="279"/>
                      </a:cubicBezTo>
                      <a:cubicBezTo>
                        <a:pt x="333" y="279"/>
                        <a:pt x="322" y="284"/>
                        <a:pt x="315" y="291"/>
                      </a:cubicBezTo>
                      <a:cubicBezTo>
                        <a:pt x="109" y="251"/>
                        <a:pt x="109" y="251"/>
                        <a:pt x="109" y="251"/>
                      </a:cubicBezTo>
                      <a:cubicBezTo>
                        <a:pt x="186" y="125"/>
                        <a:pt x="322" y="44"/>
                        <a:pt x="481" y="44"/>
                      </a:cubicBezTo>
                      <a:cubicBezTo>
                        <a:pt x="637" y="44"/>
                        <a:pt x="772" y="124"/>
                        <a:pt x="848" y="246"/>
                      </a:cubicBezTo>
                      <a:lnTo>
                        <a:pt x="703"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6">
                  <a:extLst>
                    <a:ext uri="{FF2B5EF4-FFF2-40B4-BE49-F238E27FC236}">
                      <a16:creationId xmlns:a16="http://schemas.microsoft.com/office/drawing/2014/main" id="{7A590CA1-ACC2-44C4-A69F-7631C17AB783}"/>
                    </a:ext>
                  </a:extLst>
                </p:cNvPr>
                <p:cNvSpPr>
                  <a:spLocks/>
                </p:cNvSpPr>
                <p:nvPr/>
              </p:nvSpPr>
              <p:spPr bwMode="auto">
                <a:xfrm>
                  <a:off x="5373687" y="2738438"/>
                  <a:ext cx="1443038" cy="1377949"/>
                </a:xfrm>
                <a:custGeom>
                  <a:avLst/>
                  <a:gdLst>
                    <a:gd name="connsiteX0" fmla="*/ 1427273 w 1443038"/>
                    <a:gd name="connsiteY0" fmla="*/ 1274762 h 1377949"/>
                    <a:gd name="connsiteX1" fmla="*/ 1443038 w 1443038"/>
                    <a:gd name="connsiteY1" fmla="*/ 1290527 h 1377949"/>
                    <a:gd name="connsiteX2" fmla="*/ 1443038 w 1443038"/>
                    <a:gd name="connsiteY2" fmla="*/ 1362184 h 1377949"/>
                    <a:gd name="connsiteX3" fmla="*/ 1427273 w 1443038"/>
                    <a:gd name="connsiteY3" fmla="*/ 1377949 h 1377949"/>
                    <a:gd name="connsiteX4" fmla="*/ 1355615 w 1443038"/>
                    <a:gd name="connsiteY4" fmla="*/ 1377949 h 1377949"/>
                    <a:gd name="connsiteX5" fmla="*/ 1339850 w 1443038"/>
                    <a:gd name="connsiteY5" fmla="*/ 1362184 h 1377949"/>
                    <a:gd name="connsiteX6" fmla="*/ 1355615 w 1443038"/>
                    <a:gd name="connsiteY6" fmla="*/ 1346420 h 1377949"/>
                    <a:gd name="connsiteX7" fmla="*/ 1411509 w 1443038"/>
                    <a:gd name="connsiteY7" fmla="*/ 1346420 h 1377949"/>
                    <a:gd name="connsiteX8" fmla="*/ 1411509 w 1443038"/>
                    <a:gd name="connsiteY8" fmla="*/ 1290527 h 1377949"/>
                    <a:gd name="connsiteX9" fmla="*/ 1427273 w 1443038"/>
                    <a:gd name="connsiteY9" fmla="*/ 1274762 h 1377949"/>
                    <a:gd name="connsiteX10" fmla="*/ 15765 w 1443038"/>
                    <a:gd name="connsiteY10" fmla="*/ 1274762 h 1377949"/>
                    <a:gd name="connsiteX11" fmla="*/ 31529 w 1443038"/>
                    <a:gd name="connsiteY11" fmla="*/ 1290527 h 1377949"/>
                    <a:gd name="connsiteX12" fmla="*/ 31529 w 1443038"/>
                    <a:gd name="connsiteY12" fmla="*/ 1346420 h 1377949"/>
                    <a:gd name="connsiteX13" fmla="*/ 87423 w 1443038"/>
                    <a:gd name="connsiteY13" fmla="*/ 1346420 h 1377949"/>
                    <a:gd name="connsiteX14" fmla="*/ 103188 w 1443038"/>
                    <a:gd name="connsiteY14" fmla="*/ 1362184 h 1377949"/>
                    <a:gd name="connsiteX15" fmla="*/ 87423 w 1443038"/>
                    <a:gd name="connsiteY15" fmla="*/ 1377949 h 1377949"/>
                    <a:gd name="connsiteX16" fmla="*/ 15765 w 1443038"/>
                    <a:gd name="connsiteY16" fmla="*/ 1377949 h 1377949"/>
                    <a:gd name="connsiteX17" fmla="*/ 0 w 1443038"/>
                    <a:gd name="connsiteY17" fmla="*/ 1362184 h 1377949"/>
                    <a:gd name="connsiteX18" fmla="*/ 0 w 1443038"/>
                    <a:gd name="connsiteY18" fmla="*/ 1290527 h 1377949"/>
                    <a:gd name="connsiteX19" fmla="*/ 15765 w 1443038"/>
                    <a:gd name="connsiteY19" fmla="*/ 1274762 h 1377949"/>
                    <a:gd name="connsiteX20" fmla="*/ 502474 w 1443038"/>
                    <a:gd name="connsiteY20" fmla="*/ 969962 h 1377949"/>
                    <a:gd name="connsiteX21" fmla="*/ 513894 w 1443038"/>
                    <a:gd name="connsiteY21" fmla="*/ 969962 h 1377949"/>
                    <a:gd name="connsiteX22" fmla="*/ 533880 w 1443038"/>
                    <a:gd name="connsiteY22" fmla="*/ 986406 h 1377949"/>
                    <a:gd name="connsiteX23" fmla="*/ 544586 w 1443038"/>
                    <a:gd name="connsiteY23" fmla="*/ 994985 h 1377949"/>
                    <a:gd name="connsiteX24" fmla="*/ 718030 w 1443038"/>
                    <a:gd name="connsiteY24" fmla="*/ 1137261 h 1377949"/>
                    <a:gd name="connsiteX25" fmla="*/ 726595 w 1443038"/>
                    <a:gd name="connsiteY25" fmla="*/ 1136546 h 1377949"/>
                    <a:gd name="connsiteX26" fmla="*/ 900038 w 1443038"/>
                    <a:gd name="connsiteY26" fmla="*/ 994985 h 1377949"/>
                    <a:gd name="connsiteX27" fmla="*/ 910745 w 1443038"/>
                    <a:gd name="connsiteY27" fmla="*/ 986406 h 1377949"/>
                    <a:gd name="connsiteX28" fmla="*/ 930730 w 1443038"/>
                    <a:gd name="connsiteY28" fmla="*/ 969962 h 1377949"/>
                    <a:gd name="connsiteX29" fmla="*/ 942150 w 1443038"/>
                    <a:gd name="connsiteY29" fmla="*/ 969962 h 1377949"/>
                    <a:gd name="connsiteX30" fmla="*/ 1207669 w 1443038"/>
                    <a:gd name="connsiteY30" fmla="*/ 1017149 h 1377949"/>
                    <a:gd name="connsiteX31" fmla="*/ 1363268 w 1443038"/>
                    <a:gd name="connsiteY31" fmla="*/ 1243789 h 1377949"/>
                    <a:gd name="connsiteX32" fmla="*/ 1348279 w 1443038"/>
                    <a:gd name="connsiteY32" fmla="*/ 1265237 h 1377949"/>
                    <a:gd name="connsiteX33" fmla="*/ 96345 w 1443038"/>
                    <a:gd name="connsiteY33" fmla="*/ 1265237 h 1377949"/>
                    <a:gd name="connsiteX34" fmla="*/ 81356 w 1443038"/>
                    <a:gd name="connsiteY34" fmla="*/ 1243789 h 1377949"/>
                    <a:gd name="connsiteX35" fmla="*/ 236956 w 1443038"/>
                    <a:gd name="connsiteY35" fmla="*/ 1017149 h 1377949"/>
                    <a:gd name="connsiteX36" fmla="*/ 502474 w 1443038"/>
                    <a:gd name="connsiteY36" fmla="*/ 969962 h 1377949"/>
                    <a:gd name="connsiteX37" fmla="*/ 461962 w 1443038"/>
                    <a:gd name="connsiteY37" fmla="*/ 736600 h 1377949"/>
                    <a:gd name="connsiteX38" fmla="*/ 496284 w 1443038"/>
                    <a:gd name="connsiteY38" fmla="*/ 736600 h 1377949"/>
                    <a:gd name="connsiteX39" fmla="*/ 559922 w 1443038"/>
                    <a:gd name="connsiteY39" fmla="*/ 858347 h 1377949"/>
                    <a:gd name="connsiteX40" fmla="*/ 567072 w 1443038"/>
                    <a:gd name="connsiteY40" fmla="*/ 864043 h 1377949"/>
                    <a:gd name="connsiteX41" fmla="*/ 595673 w 1443038"/>
                    <a:gd name="connsiteY41" fmla="*/ 885402 h 1377949"/>
                    <a:gd name="connsiteX42" fmla="*/ 721519 w 1443038"/>
                    <a:gd name="connsiteY42" fmla="*/ 938800 h 1377949"/>
                    <a:gd name="connsiteX43" fmla="*/ 847364 w 1443038"/>
                    <a:gd name="connsiteY43" fmla="*/ 885402 h 1377949"/>
                    <a:gd name="connsiteX44" fmla="*/ 875966 w 1443038"/>
                    <a:gd name="connsiteY44" fmla="*/ 864043 h 1377949"/>
                    <a:gd name="connsiteX45" fmla="*/ 883116 w 1443038"/>
                    <a:gd name="connsiteY45" fmla="*/ 858347 h 1377949"/>
                    <a:gd name="connsiteX46" fmla="*/ 946754 w 1443038"/>
                    <a:gd name="connsiteY46" fmla="*/ 736600 h 1377949"/>
                    <a:gd name="connsiteX47" fmla="*/ 981075 w 1443038"/>
                    <a:gd name="connsiteY47" fmla="*/ 736600 h 1377949"/>
                    <a:gd name="connsiteX48" fmla="*/ 918152 w 1443038"/>
                    <a:gd name="connsiteY48" fmla="*/ 864043 h 1377949"/>
                    <a:gd name="connsiteX49" fmla="*/ 910287 w 1443038"/>
                    <a:gd name="connsiteY49" fmla="*/ 874722 h 1377949"/>
                    <a:gd name="connsiteX50" fmla="*/ 910287 w 1443038"/>
                    <a:gd name="connsiteY50" fmla="*/ 916728 h 1377949"/>
                    <a:gd name="connsiteX51" fmla="*/ 910287 w 1443038"/>
                    <a:gd name="connsiteY51" fmla="*/ 945919 h 1377949"/>
                    <a:gd name="connsiteX52" fmla="*/ 878826 w 1443038"/>
                    <a:gd name="connsiteY52" fmla="*/ 971550 h 1377949"/>
                    <a:gd name="connsiteX53" fmla="*/ 878826 w 1443038"/>
                    <a:gd name="connsiteY53" fmla="*/ 939511 h 1377949"/>
                    <a:gd name="connsiteX54" fmla="*/ 878826 w 1443038"/>
                    <a:gd name="connsiteY54" fmla="*/ 901065 h 1377949"/>
                    <a:gd name="connsiteX55" fmla="*/ 847364 w 1443038"/>
                    <a:gd name="connsiteY55" fmla="*/ 922424 h 1377949"/>
                    <a:gd name="connsiteX56" fmla="*/ 721519 w 1443038"/>
                    <a:gd name="connsiteY56" fmla="*/ 970126 h 1377949"/>
                    <a:gd name="connsiteX57" fmla="*/ 595673 w 1443038"/>
                    <a:gd name="connsiteY57" fmla="*/ 922424 h 1377949"/>
                    <a:gd name="connsiteX58" fmla="*/ 564212 w 1443038"/>
                    <a:gd name="connsiteY58" fmla="*/ 901065 h 1377949"/>
                    <a:gd name="connsiteX59" fmla="*/ 564212 w 1443038"/>
                    <a:gd name="connsiteY59" fmla="*/ 939511 h 1377949"/>
                    <a:gd name="connsiteX60" fmla="*/ 564212 w 1443038"/>
                    <a:gd name="connsiteY60" fmla="*/ 971550 h 1377949"/>
                    <a:gd name="connsiteX61" fmla="*/ 532750 w 1443038"/>
                    <a:gd name="connsiteY61" fmla="*/ 945919 h 1377949"/>
                    <a:gd name="connsiteX62" fmla="*/ 532750 w 1443038"/>
                    <a:gd name="connsiteY62" fmla="*/ 916728 h 1377949"/>
                    <a:gd name="connsiteX63" fmla="*/ 532750 w 1443038"/>
                    <a:gd name="connsiteY63" fmla="*/ 874722 h 1377949"/>
                    <a:gd name="connsiteX64" fmla="*/ 524885 w 1443038"/>
                    <a:gd name="connsiteY64" fmla="*/ 864043 h 1377949"/>
                    <a:gd name="connsiteX65" fmla="*/ 461962 w 1443038"/>
                    <a:gd name="connsiteY65" fmla="*/ 736600 h 1377949"/>
                    <a:gd name="connsiteX66" fmla="*/ 195101 w 1443038"/>
                    <a:gd name="connsiteY66" fmla="*/ 673100 h 1377949"/>
                    <a:gd name="connsiteX67" fmla="*/ 396526 w 1443038"/>
                    <a:gd name="connsiteY67" fmla="*/ 673100 h 1377949"/>
                    <a:gd name="connsiteX68" fmla="*/ 435810 w 1443038"/>
                    <a:gd name="connsiteY68" fmla="*/ 673100 h 1377949"/>
                    <a:gd name="connsiteX69" fmla="*/ 470095 w 1443038"/>
                    <a:gd name="connsiteY69" fmla="*/ 673100 h 1377949"/>
                    <a:gd name="connsiteX70" fmla="*/ 503666 w 1443038"/>
                    <a:gd name="connsiteY70" fmla="*/ 673100 h 1377949"/>
                    <a:gd name="connsiteX71" fmla="*/ 679377 w 1443038"/>
                    <a:gd name="connsiteY71" fmla="*/ 673100 h 1377949"/>
                    <a:gd name="connsiteX72" fmla="*/ 715090 w 1443038"/>
                    <a:gd name="connsiteY72" fmla="*/ 673100 h 1377949"/>
                    <a:gd name="connsiteX73" fmla="*/ 760804 w 1443038"/>
                    <a:gd name="connsiteY73" fmla="*/ 673100 h 1377949"/>
                    <a:gd name="connsiteX74" fmla="*/ 795803 w 1443038"/>
                    <a:gd name="connsiteY74" fmla="*/ 673100 h 1377949"/>
                    <a:gd name="connsiteX75" fmla="*/ 939371 w 1443038"/>
                    <a:gd name="connsiteY75" fmla="*/ 673100 h 1377949"/>
                    <a:gd name="connsiteX76" fmla="*/ 972942 w 1443038"/>
                    <a:gd name="connsiteY76" fmla="*/ 673100 h 1377949"/>
                    <a:gd name="connsiteX77" fmla="*/ 1007227 w 1443038"/>
                    <a:gd name="connsiteY77" fmla="*/ 673100 h 1377949"/>
                    <a:gd name="connsiteX78" fmla="*/ 1046512 w 1443038"/>
                    <a:gd name="connsiteY78" fmla="*/ 673100 h 1377949"/>
                    <a:gd name="connsiteX79" fmla="*/ 1247936 w 1443038"/>
                    <a:gd name="connsiteY79" fmla="*/ 673100 h 1377949"/>
                    <a:gd name="connsiteX80" fmla="*/ 1263650 w 1443038"/>
                    <a:gd name="connsiteY80" fmla="*/ 688975 h 1377949"/>
                    <a:gd name="connsiteX81" fmla="*/ 1247936 w 1443038"/>
                    <a:gd name="connsiteY81" fmla="*/ 704850 h 1377949"/>
                    <a:gd name="connsiteX82" fmla="*/ 1027941 w 1443038"/>
                    <a:gd name="connsiteY82" fmla="*/ 704850 h 1377949"/>
                    <a:gd name="connsiteX83" fmla="*/ 994370 w 1443038"/>
                    <a:gd name="connsiteY83" fmla="*/ 704850 h 1377949"/>
                    <a:gd name="connsiteX84" fmla="*/ 960085 w 1443038"/>
                    <a:gd name="connsiteY84" fmla="*/ 704850 h 1377949"/>
                    <a:gd name="connsiteX85" fmla="*/ 925800 w 1443038"/>
                    <a:gd name="connsiteY85" fmla="*/ 704850 h 1377949"/>
                    <a:gd name="connsiteX86" fmla="*/ 770089 w 1443038"/>
                    <a:gd name="connsiteY86" fmla="*/ 704850 h 1377949"/>
                    <a:gd name="connsiteX87" fmla="*/ 705805 w 1443038"/>
                    <a:gd name="connsiteY87" fmla="*/ 704850 h 1377949"/>
                    <a:gd name="connsiteX88" fmla="*/ 517237 w 1443038"/>
                    <a:gd name="connsiteY88" fmla="*/ 704850 h 1377949"/>
                    <a:gd name="connsiteX89" fmla="*/ 482952 w 1443038"/>
                    <a:gd name="connsiteY89" fmla="*/ 704850 h 1377949"/>
                    <a:gd name="connsiteX90" fmla="*/ 448667 w 1443038"/>
                    <a:gd name="connsiteY90" fmla="*/ 704850 h 1377949"/>
                    <a:gd name="connsiteX91" fmla="*/ 415097 w 1443038"/>
                    <a:gd name="connsiteY91" fmla="*/ 704850 h 1377949"/>
                    <a:gd name="connsiteX92" fmla="*/ 195101 w 1443038"/>
                    <a:gd name="connsiteY92" fmla="*/ 704850 h 1377949"/>
                    <a:gd name="connsiteX93" fmla="*/ 179387 w 1443038"/>
                    <a:gd name="connsiteY93" fmla="*/ 688975 h 1377949"/>
                    <a:gd name="connsiteX94" fmla="*/ 195101 w 1443038"/>
                    <a:gd name="connsiteY94" fmla="*/ 673100 h 1377949"/>
                    <a:gd name="connsiteX95" fmla="*/ 1062037 w 1443038"/>
                    <a:gd name="connsiteY95" fmla="*/ 579437 h 1377949"/>
                    <a:gd name="connsiteX96" fmla="*/ 1062037 w 1443038"/>
                    <a:gd name="connsiteY96" fmla="*/ 581548 h 1377949"/>
                    <a:gd name="connsiteX97" fmla="*/ 1034263 w 1443038"/>
                    <a:gd name="connsiteY97" fmla="*/ 641349 h 1377949"/>
                    <a:gd name="connsiteX98" fmla="*/ 985837 w 1443038"/>
                    <a:gd name="connsiteY98" fmla="*/ 641349 h 1377949"/>
                    <a:gd name="connsiteX99" fmla="*/ 992959 w 1443038"/>
                    <a:gd name="connsiteY99" fmla="*/ 633610 h 1377949"/>
                    <a:gd name="connsiteX100" fmla="*/ 1025718 w 1443038"/>
                    <a:gd name="connsiteY100" fmla="*/ 596322 h 1377949"/>
                    <a:gd name="connsiteX101" fmla="*/ 1062037 w 1443038"/>
                    <a:gd name="connsiteY101" fmla="*/ 579437 h 1377949"/>
                    <a:gd name="connsiteX102" fmla="*/ 381000 w 1443038"/>
                    <a:gd name="connsiteY102" fmla="*/ 579437 h 1377949"/>
                    <a:gd name="connsiteX103" fmla="*/ 417320 w 1443038"/>
                    <a:gd name="connsiteY103" fmla="*/ 596322 h 1377949"/>
                    <a:gd name="connsiteX104" fmla="*/ 450079 w 1443038"/>
                    <a:gd name="connsiteY104" fmla="*/ 633610 h 1377949"/>
                    <a:gd name="connsiteX105" fmla="*/ 457200 w 1443038"/>
                    <a:gd name="connsiteY105" fmla="*/ 641349 h 1377949"/>
                    <a:gd name="connsiteX106" fmla="*/ 408774 w 1443038"/>
                    <a:gd name="connsiteY106" fmla="*/ 641349 h 1377949"/>
                    <a:gd name="connsiteX107" fmla="*/ 381000 w 1443038"/>
                    <a:gd name="connsiteY107" fmla="*/ 582955 h 1377949"/>
                    <a:gd name="connsiteX108" fmla="*/ 381000 w 1443038"/>
                    <a:gd name="connsiteY108" fmla="*/ 579437 h 1377949"/>
                    <a:gd name="connsiteX109" fmla="*/ 1355615 w 1443038"/>
                    <a:gd name="connsiteY109" fmla="*/ 0 h 1377949"/>
                    <a:gd name="connsiteX110" fmla="*/ 1427273 w 1443038"/>
                    <a:gd name="connsiteY110" fmla="*/ 0 h 1377949"/>
                    <a:gd name="connsiteX111" fmla="*/ 1443038 w 1443038"/>
                    <a:gd name="connsiteY111" fmla="*/ 15765 h 1377949"/>
                    <a:gd name="connsiteX112" fmla="*/ 1443038 w 1443038"/>
                    <a:gd name="connsiteY112" fmla="*/ 87422 h 1377949"/>
                    <a:gd name="connsiteX113" fmla="*/ 1427273 w 1443038"/>
                    <a:gd name="connsiteY113" fmla="*/ 103187 h 1377949"/>
                    <a:gd name="connsiteX114" fmla="*/ 1411509 w 1443038"/>
                    <a:gd name="connsiteY114" fmla="*/ 87422 h 1377949"/>
                    <a:gd name="connsiteX115" fmla="*/ 1411509 w 1443038"/>
                    <a:gd name="connsiteY115" fmla="*/ 31529 h 1377949"/>
                    <a:gd name="connsiteX116" fmla="*/ 1355615 w 1443038"/>
                    <a:gd name="connsiteY116" fmla="*/ 31529 h 1377949"/>
                    <a:gd name="connsiteX117" fmla="*/ 1339850 w 1443038"/>
                    <a:gd name="connsiteY117" fmla="*/ 15765 h 1377949"/>
                    <a:gd name="connsiteX118" fmla="*/ 1355615 w 1443038"/>
                    <a:gd name="connsiteY118" fmla="*/ 0 h 1377949"/>
                    <a:gd name="connsiteX119" fmla="*/ 15765 w 1443038"/>
                    <a:gd name="connsiteY119" fmla="*/ 0 h 1377949"/>
                    <a:gd name="connsiteX120" fmla="*/ 87423 w 1443038"/>
                    <a:gd name="connsiteY120" fmla="*/ 0 h 1377949"/>
                    <a:gd name="connsiteX121" fmla="*/ 103188 w 1443038"/>
                    <a:gd name="connsiteY121" fmla="*/ 15765 h 1377949"/>
                    <a:gd name="connsiteX122" fmla="*/ 87423 w 1443038"/>
                    <a:gd name="connsiteY122" fmla="*/ 31529 h 1377949"/>
                    <a:gd name="connsiteX123" fmla="*/ 31529 w 1443038"/>
                    <a:gd name="connsiteY123" fmla="*/ 31529 h 1377949"/>
                    <a:gd name="connsiteX124" fmla="*/ 31529 w 1443038"/>
                    <a:gd name="connsiteY124" fmla="*/ 87422 h 1377949"/>
                    <a:gd name="connsiteX125" fmla="*/ 15765 w 1443038"/>
                    <a:gd name="connsiteY125" fmla="*/ 103187 h 1377949"/>
                    <a:gd name="connsiteX126" fmla="*/ 0 w 1443038"/>
                    <a:gd name="connsiteY126" fmla="*/ 87422 h 1377949"/>
                    <a:gd name="connsiteX127" fmla="*/ 0 w 1443038"/>
                    <a:gd name="connsiteY127" fmla="*/ 15765 h 1377949"/>
                    <a:gd name="connsiteX128" fmla="*/ 15765 w 1443038"/>
                    <a:gd name="connsiteY128" fmla="*/ 0 h 13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443038" h="1377949">
                      <a:moveTo>
                        <a:pt x="1427273" y="1274762"/>
                      </a:moveTo>
                      <a:cubicBezTo>
                        <a:pt x="1435872" y="1274762"/>
                        <a:pt x="1443038" y="1281928"/>
                        <a:pt x="1443038" y="1290527"/>
                      </a:cubicBezTo>
                      <a:cubicBezTo>
                        <a:pt x="1443038" y="1290527"/>
                        <a:pt x="1443038" y="1290527"/>
                        <a:pt x="1443038" y="1362184"/>
                      </a:cubicBezTo>
                      <a:cubicBezTo>
                        <a:pt x="1443038" y="1371500"/>
                        <a:pt x="1435872" y="1377949"/>
                        <a:pt x="1427273" y="1377949"/>
                      </a:cubicBezTo>
                      <a:cubicBezTo>
                        <a:pt x="1427273" y="1377949"/>
                        <a:pt x="1427273" y="1377949"/>
                        <a:pt x="1355615" y="1377949"/>
                      </a:cubicBezTo>
                      <a:cubicBezTo>
                        <a:pt x="1347016" y="1377949"/>
                        <a:pt x="1339850" y="1371500"/>
                        <a:pt x="1339850" y="1362184"/>
                      </a:cubicBezTo>
                      <a:cubicBezTo>
                        <a:pt x="1339850" y="1353586"/>
                        <a:pt x="1347016" y="1346420"/>
                        <a:pt x="1355615" y="1346420"/>
                      </a:cubicBezTo>
                      <a:cubicBezTo>
                        <a:pt x="1355615" y="1346420"/>
                        <a:pt x="1355615" y="1346420"/>
                        <a:pt x="1411509" y="1346420"/>
                      </a:cubicBezTo>
                      <a:cubicBezTo>
                        <a:pt x="1411509" y="1346420"/>
                        <a:pt x="1411509" y="1346420"/>
                        <a:pt x="1411509" y="1290527"/>
                      </a:cubicBezTo>
                      <a:cubicBezTo>
                        <a:pt x="1411509" y="1281928"/>
                        <a:pt x="1418674" y="1274762"/>
                        <a:pt x="1427273" y="1274762"/>
                      </a:cubicBezTo>
                      <a:close/>
                      <a:moveTo>
                        <a:pt x="15765" y="1274762"/>
                      </a:moveTo>
                      <a:cubicBezTo>
                        <a:pt x="24364" y="1274762"/>
                        <a:pt x="31529" y="1281928"/>
                        <a:pt x="31529" y="1290527"/>
                      </a:cubicBezTo>
                      <a:cubicBezTo>
                        <a:pt x="31529" y="1290527"/>
                        <a:pt x="31529" y="1290527"/>
                        <a:pt x="31529" y="1346420"/>
                      </a:cubicBezTo>
                      <a:cubicBezTo>
                        <a:pt x="31529" y="1346420"/>
                        <a:pt x="31529" y="1346420"/>
                        <a:pt x="87423" y="1346420"/>
                      </a:cubicBezTo>
                      <a:cubicBezTo>
                        <a:pt x="96022" y="1346420"/>
                        <a:pt x="103188" y="1353586"/>
                        <a:pt x="103188" y="1362184"/>
                      </a:cubicBezTo>
                      <a:cubicBezTo>
                        <a:pt x="103188" y="1371500"/>
                        <a:pt x="96022" y="1377949"/>
                        <a:pt x="87423" y="1377949"/>
                      </a:cubicBezTo>
                      <a:cubicBezTo>
                        <a:pt x="87423" y="1377949"/>
                        <a:pt x="87423" y="1377949"/>
                        <a:pt x="15765" y="1377949"/>
                      </a:cubicBezTo>
                      <a:cubicBezTo>
                        <a:pt x="7166" y="1377949"/>
                        <a:pt x="0" y="1371500"/>
                        <a:pt x="0" y="1362184"/>
                      </a:cubicBezTo>
                      <a:cubicBezTo>
                        <a:pt x="0" y="1362184"/>
                        <a:pt x="0" y="1362184"/>
                        <a:pt x="0" y="1290527"/>
                      </a:cubicBezTo>
                      <a:cubicBezTo>
                        <a:pt x="0" y="1281928"/>
                        <a:pt x="7166" y="1274762"/>
                        <a:pt x="15765" y="1274762"/>
                      </a:cubicBezTo>
                      <a:close/>
                      <a:moveTo>
                        <a:pt x="502474" y="969962"/>
                      </a:moveTo>
                      <a:cubicBezTo>
                        <a:pt x="509612" y="969962"/>
                        <a:pt x="513894" y="969962"/>
                        <a:pt x="513894" y="969962"/>
                      </a:cubicBezTo>
                      <a:cubicBezTo>
                        <a:pt x="513894" y="969962"/>
                        <a:pt x="521032" y="975682"/>
                        <a:pt x="533880" y="986406"/>
                      </a:cubicBezTo>
                      <a:cubicBezTo>
                        <a:pt x="537448" y="989266"/>
                        <a:pt x="541017" y="992126"/>
                        <a:pt x="544586" y="994985"/>
                      </a:cubicBezTo>
                      <a:cubicBezTo>
                        <a:pt x="588839" y="1032163"/>
                        <a:pt x="671635" y="1100083"/>
                        <a:pt x="718030" y="1137261"/>
                      </a:cubicBezTo>
                      <a:cubicBezTo>
                        <a:pt x="720885" y="1138691"/>
                        <a:pt x="724453" y="1138691"/>
                        <a:pt x="726595" y="1136546"/>
                      </a:cubicBezTo>
                      <a:cubicBezTo>
                        <a:pt x="787264" y="1087929"/>
                        <a:pt x="860068" y="1028588"/>
                        <a:pt x="900038" y="994985"/>
                      </a:cubicBezTo>
                      <a:cubicBezTo>
                        <a:pt x="903607" y="992126"/>
                        <a:pt x="907176" y="989266"/>
                        <a:pt x="910745" y="986406"/>
                      </a:cubicBezTo>
                      <a:cubicBezTo>
                        <a:pt x="923592" y="975682"/>
                        <a:pt x="930730" y="969962"/>
                        <a:pt x="930730" y="969962"/>
                      </a:cubicBezTo>
                      <a:cubicBezTo>
                        <a:pt x="930730" y="969962"/>
                        <a:pt x="935013" y="969962"/>
                        <a:pt x="942150" y="969962"/>
                      </a:cubicBezTo>
                      <a:cubicBezTo>
                        <a:pt x="982835" y="971392"/>
                        <a:pt x="1124873" y="978542"/>
                        <a:pt x="1207669" y="1017149"/>
                      </a:cubicBezTo>
                      <a:cubicBezTo>
                        <a:pt x="1286182" y="1052897"/>
                        <a:pt x="1343283" y="1190882"/>
                        <a:pt x="1363268" y="1243789"/>
                      </a:cubicBezTo>
                      <a:cubicBezTo>
                        <a:pt x="1366837" y="1253798"/>
                        <a:pt x="1359700" y="1265237"/>
                        <a:pt x="1348279" y="1265237"/>
                      </a:cubicBezTo>
                      <a:cubicBezTo>
                        <a:pt x="1348279" y="1265237"/>
                        <a:pt x="1348279" y="1265237"/>
                        <a:pt x="96345" y="1265237"/>
                      </a:cubicBezTo>
                      <a:cubicBezTo>
                        <a:pt x="84924" y="1265237"/>
                        <a:pt x="77787" y="1253798"/>
                        <a:pt x="81356" y="1243789"/>
                      </a:cubicBezTo>
                      <a:cubicBezTo>
                        <a:pt x="101341" y="1190882"/>
                        <a:pt x="158442" y="1052897"/>
                        <a:pt x="236956" y="1017149"/>
                      </a:cubicBezTo>
                      <a:cubicBezTo>
                        <a:pt x="319752" y="978542"/>
                        <a:pt x="461790" y="971392"/>
                        <a:pt x="502474" y="969962"/>
                      </a:cubicBezTo>
                      <a:close/>
                      <a:moveTo>
                        <a:pt x="461962" y="736600"/>
                      </a:moveTo>
                      <a:cubicBezTo>
                        <a:pt x="461962" y="736600"/>
                        <a:pt x="461962" y="736600"/>
                        <a:pt x="496284" y="736600"/>
                      </a:cubicBezTo>
                      <a:cubicBezTo>
                        <a:pt x="520595" y="792846"/>
                        <a:pt x="547051" y="846955"/>
                        <a:pt x="559922" y="858347"/>
                      </a:cubicBezTo>
                      <a:cubicBezTo>
                        <a:pt x="562067" y="860483"/>
                        <a:pt x="564927" y="861907"/>
                        <a:pt x="567072" y="864043"/>
                      </a:cubicBezTo>
                      <a:cubicBezTo>
                        <a:pt x="574937" y="870450"/>
                        <a:pt x="584948" y="877570"/>
                        <a:pt x="595673" y="885402"/>
                      </a:cubicBezTo>
                      <a:cubicBezTo>
                        <a:pt x="634285" y="911033"/>
                        <a:pt x="687912" y="938800"/>
                        <a:pt x="721519" y="938800"/>
                      </a:cubicBezTo>
                      <a:cubicBezTo>
                        <a:pt x="755125" y="938800"/>
                        <a:pt x="808753" y="911033"/>
                        <a:pt x="847364" y="885402"/>
                      </a:cubicBezTo>
                      <a:cubicBezTo>
                        <a:pt x="858090" y="877570"/>
                        <a:pt x="868100" y="870450"/>
                        <a:pt x="875966" y="864043"/>
                      </a:cubicBezTo>
                      <a:cubicBezTo>
                        <a:pt x="878111" y="861907"/>
                        <a:pt x="880971" y="860483"/>
                        <a:pt x="883116" y="858347"/>
                      </a:cubicBezTo>
                      <a:cubicBezTo>
                        <a:pt x="895986" y="846955"/>
                        <a:pt x="922443" y="792846"/>
                        <a:pt x="946754" y="736600"/>
                      </a:cubicBezTo>
                      <a:cubicBezTo>
                        <a:pt x="946754" y="736600"/>
                        <a:pt x="946754" y="736600"/>
                        <a:pt x="981075" y="736600"/>
                      </a:cubicBezTo>
                      <a:cubicBezTo>
                        <a:pt x="961769" y="782878"/>
                        <a:pt x="936743" y="835564"/>
                        <a:pt x="918152" y="864043"/>
                      </a:cubicBezTo>
                      <a:cubicBezTo>
                        <a:pt x="915292" y="868315"/>
                        <a:pt x="912432" y="871874"/>
                        <a:pt x="910287" y="874722"/>
                      </a:cubicBezTo>
                      <a:cubicBezTo>
                        <a:pt x="910287" y="874722"/>
                        <a:pt x="910287" y="874722"/>
                        <a:pt x="910287" y="916728"/>
                      </a:cubicBezTo>
                      <a:cubicBezTo>
                        <a:pt x="910287" y="916728"/>
                        <a:pt x="910287" y="916728"/>
                        <a:pt x="910287" y="945919"/>
                      </a:cubicBezTo>
                      <a:cubicBezTo>
                        <a:pt x="908142" y="947343"/>
                        <a:pt x="896701" y="957311"/>
                        <a:pt x="878826" y="971550"/>
                      </a:cubicBezTo>
                      <a:lnTo>
                        <a:pt x="878826" y="939511"/>
                      </a:lnTo>
                      <a:cubicBezTo>
                        <a:pt x="878826" y="939511"/>
                        <a:pt x="878826" y="939511"/>
                        <a:pt x="878826" y="901065"/>
                      </a:cubicBezTo>
                      <a:cubicBezTo>
                        <a:pt x="869530" y="908185"/>
                        <a:pt x="858805" y="915305"/>
                        <a:pt x="847364" y="922424"/>
                      </a:cubicBezTo>
                      <a:cubicBezTo>
                        <a:pt x="807323" y="946631"/>
                        <a:pt x="757985" y="970126"/>
                        <a:pt x="721519" y="970126"/>
                      </a:cubicBezTo>
                      <a:cubicBezTo>
                        <a:pt x="685052" y="970126"/>
                        <a:pt x="635715" y="946631"/>
                        <a:pt x="595673" y="922424"/>
                      </a:cubicBezTo>
                      <a:cubicBezTo>
                        <a:pt x="584233" y="915305"/>
                        <a:pt x="573507" y="908185"/>
                        <a:pt x="564212" y="901065"/>
                      </a:cubicBezTo>
                      <a:cubicBezTo>
                        <a:pt x="564212" y="901065"/>
                        <a:pt x="564212" y="901065"/>
                        <a:pt x="564212" y="939511"/>
                      </a:cubicBezTo>
                      <a:cubicBezTo>
                        <a:pt x="564212" y="939511"/>
                        <a:pt x="564212" y="939511"/>
                        <a:pt x="564212" y="971550"/>
                      </a:cubicBezTo>
                      <a:cubicBezTo>
                        <a:pt x="547051" y="957311"/>
                        <a:pt x="534895" y="947343"/>
                        <a:pt x="532750" y="945919"/>
                      </a:cubicBezTo>
                      <a:cubicBezTo>
                        <a:pt x="532750" y="945919"/>
                        <a:pt x="532750" y="945919"/>
                        <a:pt x="532750" y="916728"/>
                      </a:cubicBezTo>
                      <a:cubicBezTo>
                        <a:pt x="532750" y="916728"/>
                        <a:pt x="532750" y="916728"/>
                        <a:pt x="532750" y="874722"/>
                      </a:cubicBezTo>
                      <a:cubicBezTo>
                        <a:pt x="530605" y="871874"/>
                        <a:pt x="527745" y="868315"/>
                        <a:pt x="524885" y="864043"/>
                      </a:cubicBezTo>
                      <a:cubicBezTo>
                        <a:pt x="506294" y="835564"/>
                        <a:pt x="481268" y="782878"/>
                        <a:pt x="461962" y="736600"/>
                      </a:cubicBezTo>
                      <a:close/>
                      <a:moveTo>
                        <a:pt x="195101" y="673100"/>
                      </a:moveTo>
                      <a:cubicBezTo>
                        <a:pt x="195101" y="673100"/>
                        <a:pt x="195101" y="673100"/>
                        <a:pt x="396526" y="673100"/>
                      </a:cubicBezTo>
                      <a:cubicBezTo>
                        <a:pt x="396526" y="673100"/>
                        <a:pt x="396526" y="673100"/>
                        <a:pt x="435810" y="673100"/>
                      </a:cubicBezTo>
                      <a:cubicBezTo>
                        <a:pt x="435810" y="673100"/>
                        <a:pt x="435810" y="673100"/>
                        <a:pt x="470095" y="673100"/>
                      </a:cubicBezTo>
                      <a:cubicBezTo>
                        <a:pt x="470095" y="673100"/>
                        <a:pt x="470095" y="673100"/>
                        <a:pt x="503666" y="673100"/>
                      </a:cubicBezTo>
                      <a:cubicBezTo>
                        <a:pt x="503666" y="673100"/>
                        <a:pt x="503666" y="673100"/>
                        <a:pt x="679377" y="673100"/>
                      </a:cubicBezTo>
                      <a:cubicBezTo>
                        <a:pt x="679377" y="673100"/>
                        <a:pt x="679377" y="673100"/>
                        <a:pt x="715090" y="673100"/>
                      </a:cubicBezTo>
                      <a:cubicBezTo>
                        <a:pt x="715090" y="673100"/>
                        <a:pt x="715090" y="673100"/>
                        <a:pt x="760804" y="673100"/>
                      </a:cubicBezTo>
                      <a:cubicBezTo>
                        <a:pt x="760804" y="673100"/>
                        <a:pt x="760804" y="673100"/>
                        <a:pt x="795803" y="673100"/>
                      </a:cubicBezTo>
                      <a:cubicBezTo>
                        <a:pt x="795803" y="673100"/>
                        <a:pt x="795803" y="673100"/>
                        <a:pt x="939371" y="673100"/>
                      </a:cubicBezTo>
                      <a:cubicBezTo>
                        <a:pt x="939371" y="673100"/>
                        <a:pt x="939371" y="673100"/>
                        <a:pt x="972942" y="673100"/>
                      </a:cubicBezTo>
                      <a:cubicBezTo>
                        <a:pt x="972942" y="673100"/>
                        <a:pt x="972942" y="673100"/>
                        <a:pt x="1007227" y="673100"/>
                      </a:cubicBezTo>
                      <a:cubicBezTo>
                        <a:pt x="1007227" y="673100"/>
                        <a:pt x="1007227" y="673100"/>
                        <a:pt x="1046512" y="673100"/>
                      </a:cubicBezTo>
                      <a:cubicBezTo>
                        <a:pt x="1046512" y="673100"/>
                        <a:pt x="1046512" y="673100"/>
                        <a:pt x="1247936" y="673100"/>
                      </a:cubicBezTo>
                      <a:cubicBezTo>
                        <a:pt x="1256507" y="673100"/>
                        <a:pt x="1263650" y="680316"/>
                        <a:pt x="1263650" y="688975"/>
                      </a:cubicBezTo>
                      <a:cubicBezTo>
                        <a:pt x="1263650" y="697634"/>
                        <a:pt x="1256507" y="704850"/>
                        <a:pt x="1247936" y="704850"/>
                      </a:cubicBezTo>
                      <a:cubicBezTo>
                        <a:pt x="1247936" y="704850"/>
                        <a:pt x="1247936" y="704850"/>
                        <a:pt x="1027941" y="704850"/>
                      </a:cubicBezTo>
                      <a:cubicBezTo>
                        <a:pt x="1027941" y="704850"/>
                        <a:pt x="1027941" y="704850"/>
                        <a:pt x="994370" y="704850"/>
                      </a:cubicBezTo>
                      <a:cubicBezTo>
                        <a:pt x="994370" y="704850"/>
                        <a:pt x="994370" y="704850"/>
                        <a:pt x="960085" y="704850"/>
                      </a:cubicBezTo>
                      <a:cubicBezTo>
                        <a:pt x="960085" y="704850"/>
                        <a:pt x="960085" y="704850"/>
                        <a:pt x="925800" y="704850"/>
                      </a:cubicBezTo>
                      <a:cubicBezTo>
                        <a:pt x="925800" y="704850"/>
                        <a:pt x="925800" y="704850"/>
                        <a:pt x="770089" y="704850"/>
                      </a:cubicBezTo>
                      <a:cubicBezTo>
                        <a:pt x="770089" y="704850"/>
                        <a:pt x="770089" y="704850"/>
                        <a:pt x="705805" y="704850"/>
                      </a:cubicBezTo>
                      <a:cubicBezTo>
                        <a:pt x="705805" y="704850"/>
                        <a:pt x="705805" y="704850"/>
                        <a:pt x="517237" y="704850"/>
                      </a:cubicBezTo>
                      <a:cubicBezTo>
                        <a:pt x="517237" y="704850"/>
                        <a:pt x="517237" y="704850"/>
                        <a:pt x="482952" y="704850"/>
                      </a:cubicBezTo>
                      <a:cubicBezTo>
                        <a:pt x="482952" y="704850"/>
                        <a:pt x="482952" y="704850"/>
                        <a:pt x="448667" y="704850"/>
                      </a:cubicBezTo>
                      <a:cubicBezTo>
                        <a:pt x="448667" y="704850"/>
                        <a:pt x="448667" y="704850"/>
                        <a:pt x="415097" y="704850"/>
                      </a:cubicBezTo>
                      <a:cubicBezTo>
                        <a:pt x="415097" y="704850"/>
                        <a:pt x="415097" y="704850"/>
                        <a:pt x="195101" y="704850"/>
                      </a:cubicBezTo>
                      <a:cubicBezTo>
                        <a:pt x="186530" y="704850"/>
                        <a:pt x="179387" y="697634"/>
                        <a:pt x="179387" y="688975"/>
                      </a:cubicBezTo>
                      <a:cubicBezTo>
                        <a:pt x="179387" y="680316"/>
                        <a:pt x="186530" y="673100"/>
                        <a:pt x="195101" y="673100"/>
                      </a:cubicBezTo>
                      <a:close/>
                      <a:moveTo>
                        <a:pt x="1062037" y="579437"/>
                      </a:moveTo>
                      <a:cubicBezTo>
                        <a:pt x="1062037" y="580140"/>
                        <a:pt x="1062037" y="580844"/>
                        <a:pt x="1062037" y="581548"/>
                      </a:cubicBezTo>
                      <a:cubicBezTo>
                        <a:pt x="1059901" y="594211"/>
                        <a:pt x="1054204" y="620243"/>
                        <a:pt x="1034263" y="641349"/>
                      </a:cubicBezTo>
                      <a:cubicBezTo>
                        <a:pt x="1034263" y="641349"/>
                        <a:pt x="1034263" y="641349"/>
                        <a:pt x="985837" y="641349"/>
                      </a:cubicBezTo>
                      <a:cubicBezTo>
                        <a:pt x="987262" y="637831"/>
                        <a:pt x="990110" y="635721"/>
                        <a:pt x="992959" y="633610"/>
                      </a:cubicBezTo>
                      <a:cubicBezTo>
                        <a:pt x="1010762" y="625167"/>
                        <a:pt x="1020733" y="609689"/>
                        <a:pt x="1025718" y="596322"/>
                      </a:cubicBezTo>
                      <a:cubicBezTo>
                        <a:pt x="1025718" y="596322"/>
                        <a:pt x="1025718" y="596322"/>
                        <a:pt x="1062037" y="579437"/>
                      </a:cubicBezTo>
                      <a:close/>
                      <a:moveTo>
                        <a:pt x="381000" y="579437"/>
                      </a:moveTo>
                      <a:cubicBezTo>
                        <a:pt x="381000" y="579437"/>
                        <a:pt x="381000" y="579437"/>
                        <a:pt x="417320" y="596322"/>
                      </a:cubicBezTo>
                      <a:cubicBezTo>
                        <a:pt x="422305" y="609689"/>
                        <a:pt x="432275" y="625167"/>
                        <a:pt x="450079" y="633610"/>
                      </a:cubicBezTo>
                      <a:cubicBezTo>
                        <a:pt x="452927" y="635721"/>
                        <a:pt x="455776" y="637831"/>
                        <a:pt x="457200" y="641349"/>
                      </a:cubicBezTo>
                      <a:cubicBezTo>
                        <a:pt x="457200" y="641349"/>
                        <a:pt x="457200" y="641349"/>
                        <a:pt x="408774" y="641349"/>
                      </a:cubicBezTo>
                      <a:cubicBezTo>
                        <a:pt x="390258" y="621650"/>
                        <a:pt x="383849" y="597729"/>
                        <a:pt x="381000" y="582955"/>
                      </a:cubicBezTo>
                      <a:cubicBezTo>
                        <a:pt x="381000" y="582251"/>
                        <a:pt x="381000" y="580844"/>
                        <a:pt x="381000" y="579437"/>
                      </a:cubicBezTo>
                      <a:close/>
                      <a:moveTo>
                        <a:pt x="1355615" y="0"/>
                      </a:moveTo>
                      <a:cubicBezTo>
                        <a:pt x="1355615" y="0"/>
                        <a:pt x="1355615" y="0"/>
                        <a:pt x="1427273" y="0"/>
                      </a:cubicBezTo>
                      <a:cubicBezTo>
                        <a:pt x="1435872" y="0"/>
                        <a:pt x="1443038" y="6449"/>
                        <a:pt x="1443038" y="15765"/>
                      </a:cubicBezTo>
                      <a:cubicBezTo>
                        <a:pt x="1443038" y="15765"/>
                        <a:pt x="1443038" y="15765"/>
                        <a:pt x="1443038" y="87422"/>
                      </a:cubicBezTo>
                      <a:cubicBezTo>
                        <a:pt x="1443038" y="96021"/>
                        <a:pt x="1435872" y="103187"/>
                        <a:pt x="1427273" y="103187"/>
                      </a:cubicBezTo>
                      <a:cubicBezTo>
                        <a:pt x="1418674" y="103187"/>
                        <a:pt x="1411509" y="96021"/>
                        <a:pt x="1411509" y="87422"/>
                      </a:cubicBezTo>
                      <a:cubicBezTo>
                        <a:pt x="1411509" y="87422"/>
                        <a:pt x="1411509" y="87422"/>
                        <a:pt x="1411509" y="31529"/>
                      </a:cubicBezTo>
                      <a:cubicBezTo>
                        <a:pt x="1411509" y="31529"/>
                        <a:pt x="1411509" y="31529"/>
                        <a:pt x="1355615" y="31529"/>
                      </a:cubicBezTo>
                      <a:cubicBezTo>
                        <a:pt x="1347016" y="31529"/>
                        <a:pt x="1339850" y="24363"/>
                        <a:pt x="1339850" y="15765"/>
                      </a:cubicBezTo>
                      <a:cubicBezTo>
                        <a:pt x="1339850" y="6449"/>
                        <a:pt x="1347016" y="0"/>
                        <a:pt x="1355615" y="0"/>
                      </a:cubicBezTo>
                      <a:close/>
                      <a:moveTo>
                        <a:pt x="15765" y="0"/>
                      </a:moveTo>
                      <a:cubicBezTo>
                        <a:pt x="15765" y="0"/>
                        <a:pt x="15765" y="0"/>
                        <a:pt x="87423" y="0"/>
                      </a:cubicBezTo>
                      <a:cubicBezTo>
                        <a:pt x="96022" y="0"/>
                        <a:pt x="103188" y="6449"/>
                        <a:pt x="103188" y="15765"/>
                      </a:cubicBezTo>
                      <a:cubicBezTo>
                        <a:pt x="103188" y="24363"/>
                        <a:pt x="96022" y="31529"/>
                        <a:pt x="87423" y="31529"/>
                      </a:cubicBezTo>
                      <a:cubicBezTo>
                        <a:pt x="87423" y="31529"/>
                        <a:pt x="87423" y="31529"/>
                        <a:pt x="31529" y="31529"/>
                      </a:cubicBezTo>
                      <a:cubicBezTo>
                        <a:pt x="31529" y="31529"/>
                        <a:pt x="31529" y="31529"/>
                        <a:pt x="31529" y="87422"/>
                      </a:cubicBezTo>
                      <a:cubicBezTo>
                        <a:pt x="31529" y="96021"/>
                        <a:pt x="24364" y="103187"/>
                        <a:pt x="15765" y="103187"/>
                      </a:cubicBezTo>
                      <a:cubicBezTo>
                        <a:pt x="7166" y="103187"/>
                        <a:pt x="0" y="96021"/>
                        <a:pt x="0" y="87422"/>
                      </a:cubicBezTo>
                      <a:cubicBezTo>
                        <a:pt x="0" y="87422"/>
                        <a:pt x="0" y="87422"/>
                        <a:pt x="0" y="15765"/>
                      </a:cubicBezTo>
                      <a:cubicBezTo>
                        <a:pt x="0" y="6449"/>
                        <a:pt x="7166" y="0"/>
                        <a:pt x="157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38" name="Group 37">
            <a:extLst>
              <a:ext uri="{FF2B5EF4-FFF2-40B4-BE49-F238E27FC236}">
                <a16:creationId xmlns:a16="http://schemas.microsoft.com/office/drawing/2014/main" id="{0F7DF48A-AF3D-4451-98D9-16E17D196B10}"/>
              </a:ext>
            </a:extLst>
          </p:cNvPr>
          <p:cNvGrpSpPr/>
          <p:nvPr/>
        </p:nvGrpSpPr>
        <p:grpSpPr>
          <a:xfrm>
            <a:off x="-1" y="1445448"/>
            <a:ext cx="3361060" cy="738664"/>
            <a:chOff x="-1" y="1445448"/>
            <a:chExt cx="3361060" cy="738664"/>
          </a:xfrm>
        </p:grpSpPr>
        <p:sp>
          <p:nvSpPr>
            <p:cNvPr id="39" name="Rectangle: Top Corners Rounded 38">
              <a:extLst>
                <a:ext uri="{FF2B5EF4-FFF2-40B4-BE49-F238E27FC236}">
                  <a16:creationId xmlns:a16="http://schemas.microsoft.com/office/drawing/2014/main" id="{5C73FDDD-D42A-4FE9-9270-693DBD10FBA6}"/>
                </a:ext>
              </a:extLst>
            </p:cNvPr>
            <p:cNvSpPr/>
            <p:nvPr/>
          </p:nvSpPr>
          <p:spPr>
            <a:xfrm rot="5400000">
              <a:off x="1311197" y="13425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0" name="ee4pHeader1">
              <a:extLst>
                <a:ext uri="{FF2B5EF4-FFF2-40B4-BE49-F238E27FC236}">
                  <a16:creationId xmlns:a16="http://schemas.microsoft.com/office/drawing/2014/main" id="{96F0A335-E1DE-49FC-9CB7-86C000DB9442}"/>
                </a:ext>
              </a:extLst>
            </p:cNvPr>
            <p:cNvSpPr txBox="1"/>
            <p:nvPr/>
          </p:nvSpPr>
          <p:spPr>
            <a:xfrm>
              <a:off x="288478" y="1445448"/>
              <a:ext cx="2923073" cy="738664"/>
            </a:xfrm>
            <a:prstGeom prst="rect">
              <a:avLst/>
            </a:prstGeom>
            <a:noFill/>
            <a:ln cap="rnd">
              <a:noFill/>
            </a:ln>
          </p:spPr>
          <p:txBody>
            <a:bodyPr vert="horz" wrap="square" lIns="640080" tIns="0" rIns="0" bIns="0" rtlCol="0" anchor="ctr" anchorCtr="0">
              <a:noAutofit/>
            </a:bodyPr>
            <a:lstStyle/>
            <a:p>
              <a:pPr marL="0" lvl="3"/>
              <a:r>
                <a:rPr lang="en-US" dirty="0">
                  <a:solidFill>
                    <a:srgbClr val="FFFFFF"/>
                  </a:solidFill>
                  <a:latin typeface="+mj-lt"/>
                  <a:cs typeface="Calibri" panose="020F0502020204030204" pitchFamily="34" charset="0"/>
                </a:rPr>
                <a:t>Definition </a:t>
              </a:r>
            </a:p>
          </p:txBody>
        </p:sp>
      </p:grpSp>
      <p:grpSp>
        <p:nvGrpSpPr>
          <p:cNvPr id="41" name="Group 40">
            <a:extLst>
              <a:ext uri="{FF2B5EF4-FFF2-40B4-BE49-F238E27FC236}">
                <a16:creationId xmlns:a16="http://schemas.microsoft.com/office/drawing/2014/main" id="{D524C126-F842-44D8-81B3-710A7FE95D4B}"/>
              </a:ext>
            </a:extLst>
          </p:cNvPr>
          <p:cNvGrpSpPr>
            <a:grpSpLocks noChangeAspect="1"/>
          </p:cNvGrpSpPr>
          <p:nvPr/>
        </p:nvGrpSpPr>
        <p:grpSpPr>
          <a:xfrm>
            <a:off x="318702" y="1591593"/>
            <a:ext cx="446806" cy="446374"/>
            <a:chOff x="5273675" y="2606675"/>
            <a:chExt cx="1646238" cy="1644650"/>
          </a:xfrm>
        </p:grpSpPr>
        <p:sp>
          <p:nvSpPr>
            <p:cNvPr id="44" name="AutoShape 3">
              <a:extLst>
                <a:ext uri="{FF2B5EF4-FFF2-40B4-BE49-F238E27FC236}">
                  <a16:creationId xmlns:a16="http://schemas.microsoft.com/office/drawing/2014/main" id="{E61B5F86-7F70-433D-829F-8C742C2D7586}"/>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0843F5D2-52EE-4557-BD56-5D0710CB1296}"/>
                </a:ext>
              </a:extLst>
            </p:cNvPr>
            <p:cNvGrpSpPr/>
            <p:nvPr/>
          </p:nvGrpSpPr>
          <p:grpSpPr>
            <a:xfrm>
              <a:off x="5651500" y="2971800"/>
              <a:ext cx="892175" cy="1109663"/>
              <a:chOff x="5651500" y="2971800"/>
              <a:chExt cx="892175" cy="1109663"/>
            </a:xfrm>
          </p:grpSpPr>
          <p:sp>
            <p:nvSpPr>
              <p:cNvPr id="47" name="Freeform 20">
                <a:extLst>
                  <a:ext uri="{FF2B5EF4-FFF2-40B4-BE49-F238E27FC236}">
                    <a16:creationId xmlns:a16="http://schemas.microsoft.com/office/drawing/2014/main" id="{F21592B1-907C-485A-AFFC-2770576CC93D}"/>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6" name="Freeform 21">
                <a:extLst>
                  <a:ext uri="{FF2B5EF4-FFF2-40B4-BE49-F238E27FC236}">
                    <a16:creationId xmlns:a16="http://schemas.microsoft.com/office/drawing/2014/main" id="{2F4553D6-FA62-4D8E-8307-C744D6BD0D51}"/>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3828320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7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01C74C-AE5C-42D9-83A5-8116109103CF}"/>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p:cNvSpPr>
            <a:spLocks noGrp="1"/>
          </p:cNvSpPr>
          <p:nvPr>
            <p:ph type="title"/>
          </p:nvPr>
        </p:nvSpPr>
        <p:spPr>
          <a:xfrm>
            <a:off x="288478" y="721619"/>
            <a:ext cx="11615045" cy="332399"/>
          </a:xfrm>
          <a:prstGeom prst="rect">
            <a:avLst/>
          </a:prstGeom>
        </p:spPr>
        <p:txBody>
          <a:bodyPr>
            <a:spAutoFit/>
          </a:bodyPr>
          <a:lstStyle/>
          <a:p>
            <a:r>
              <a:rPr lang="en-US" dirty="0">
                <a:solidFill>
                  <a:schemeClr val="accent6"/>
                </a:solidFill>
              </a:rPr>
              <a:t>Phase 3 | </a:t>
            </a:r>
            <a:r>
              <a:rPr lang="en-US" dirty="0"/>
              <a:t>Other critical workers</a:t>
            </a:r>
            <a:r>
              <a:rPr lang="en-US" baseline="30000" dirty="0"/>
              <a:t>1</a:t>
            </a:r>
            <a:r>
              <a:rPr lang="en-US" dirty="0"/>
              <a:t> : identifying characteristics and working definition </a:t>
            </a:r>
          </a:p>
        </p:txBody>
      </p:sp>
      <p:sp>
        <p:nvSpPr>
          <p:cNvPr id="6" name="ee4pFootnotes">
            <a:extLst>
              <a:ext uri="{FF2B5EF4-FFF2-40B4-BE49-F238E27FC236}">
                <a16:creationId xmlns:a16="http://schemas.microsoft.com/office/drawing/2014/main" id="{B4D64235-AE16-4654-ABC1-1B2D5868F44C}"/>
              </a:ext>
            </a:extLst>
          </p:cNvPr>
          <p:cNvSpPr>
            <a:spLocks noChangeArrowheads="1"/>
          </p:cNvSpPr>
          <p:nvPr/>
        </p:nvSpPr>
        <p:spPr bwMode="auto">
          <a:xfrm>
            <a:off x="288478" y="6441531"/>
            <a:ext cx="11615045"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000000"/>
                </a:solidFill>
                <a:latin typeface="Calibri" panose="020F0502020204030204" pitchFamily="34" charset="0"/>
                <a:sym typeface="+mn-lt"/>
              </a:rPr>
              <a:t>1- As defined by the </a:t>
            </a:r>
            <a:r>
              <a:rPr lang="en-US" sz="1000" dirty="0">
                <a:solidFill>
                  <a:srgbClr val="000000"/>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xmlns="" val="tx"/>
                    </a:ext>
                  </a:extLst>
                </a:hlinkClick>
              </a:rPr>
              <a:t>Department of Homeland Security</a:t>
            </a:r>
            <a:endParaRPr lang="en-US" sz="1000" dirty="0">
              <a:solidFill>
                <a:srgbClr val="000000"/>
              </a:solidFill>
              <a:latin typeface="Calibri" panose="020F0502020204030204" pitchFamily="34" charset="0"/>
              <a:sym typeface="+mn-lt"/>
            </a:endParaRPr>
          </a:p>
          <a:p>
            <a:pPr>
              <a:lnSpc>
                <a:spcPct val="90000"/>
              </a:lnSpc>
            </a:pPr>
            <a:r>
              <a:rPr lang="en-US" sz="1000" dirty="0">
                <a:solidFill>
                  <a:srgbClr val="000000"/>
                </a:solidFill>
                <a:latin typeface="Calibri" panose="020F0502020204030204" pitchFamily="34" charset="0"/>
                <a:sym typeface="+mn-lt"/>
              </a:rPr>
              <a:t>Sources: DHS </a:t>
            </a:r>
            <a:r>
              <a:rPr lang="en-US" sz="1000" dirty="0" err="1">
                <a:solidFill>
                  <a:srgbClr val="000000"/>
                </a:solidFill>
                <a:latin typeface="Calibri" panose="020F0502020204030204" pitchFamily="34" charset="0"/>
                <a:sym typeface="+mn-lt"/>
              </a:rPr>
              <a:t>CISA</a:t>
            </a:r>
            <a:r>
              <a:rPr lang="en-US" sz="1000" dirty="0">
                <a:solidFill>
                  <a:srgbClr val="000000"/>
                </a:solidFill>
                <a:latin typeface="Calibri" panose="020F0502020204030204" pitchFamily="34" charset="0"/>
                <a:sym typeface="+mn-lt"/>
              </a:rPr>
              <a:t>; The Advisory Committee on Immunization Practices’ Updated Interim Recommendation for Allocation of COVID-19 Vaccine,United States, December 2020</a:t>
            </a:r>
          </a:p>
        </p:txBody>
      </p:sp>
      <p:sp>
        <p:nvSpPr>
          <p:cNvPr id="24" name="ee4pHeader1">
            <a:extLst>
              <a:ext uri="{FF2B5EF4-FFF2-40B4-BE49-F238E27FC236}">
                <a16:creationId xmlns:a16="http://schemas.microsoft.com/office/drawing/2014/main" id="{5BD9B3A2-A7C5-43DA-B99F-C233B960B821}"/>
              </a:ext>
            </a:extLst>
          </p:cNvPr>
          <p:cNvSpPr txBox="1"/>
          <p:nvPr/>
        </p:nvSpPr>
        <p:spPr>
          <a:xfrm>
            <a:off x="3466913" y="2770250"/>
            <a:ext cx="8436607" cy="646331"/>
          </a:xfrm>
          <a:prstGeom prst="rect">
            <a:avLst/>
          </a:prstGeom>
          <a:noFill/>
          <a:ln cap="rnd">
            <a:noFill/>
          </a:ln>
        </p:spPr>
        <p:txBody>
          <a:bodyPr vert="horz" wrap="square" lIns="0" tIns="0" rIns="0" bIns="0" rtlCol="0" anchor="t" anchorCtr="0">
            <a:spAutoFit/>
          </a:bodyPr>
          <a:lstStyle/>
          <a:p>
            <a:pPr>
              <a:buSzPct val="100000"/>
              <a:buFont typeface="Trebuchet MS" panose="020B0603020202020204" pitchFamily="34" charset="0"/>
              <a:buChar char="​"/>
            </a:pPr>
            <a:r>
              <a:rPr lang="en-US" sz="1400" dirty="0">
                <a:solidFill>
                  <a:srgbClr val="000000"/>
                </a:solidFill>
                <a:latin typeface="Calibri" panose="020F0502020204030204" pitchFamily="34" charset="0"/>
                <a:cs typeface="Calibri" panose="020F0502020204030204" pitchFamily="34" charset="0"/>
              </a:rPr>
              <a:t>Critical workers are characterized as those operating in-person to maintain systems, assets and activities that are vital to the state (or the country's) security, economy, or public health, as defined by </a:t>
            </a:r>
            <a:r>
              <a:rPr lang="en-US" sz="1400" dirty="0">
                <a:solidFill>
                  <a:srgbClr val="051934"/>
                </a:solidFill>
                <a:latin typeface="Calibri" panose="020F0502020204030204" pitchFamily="34" charset="0"/>
                <a:cs typeface="Calibri" panose="020F0502020204030204" pitchFamily="34" charset="0"/>
              </a:rPr>
              <a:t>the </a:t>
            </a:r>
            <a:r>
              <a:rPr lang="en-US" sz="1400" dirty="0">
                <a:solidFill>
                  <a:srgbClr val="051934"/>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xmlns="" val="tx"/>
                    </a:ext>
                  </a:extLst>
                </a:hlinkClick>
              </a:rPr>
              <a:t>Department of Homeland Security</a:t>
            </a:r>
            <a:endParaRPr lang="en-US" sz="1400" dirty="0">
              <a:solidFill>
                <a:srgbClr val="051934"/>
              </a:solidFill>
              <a:latin typeface="Calibri" panose="020F0502020204030204" pitchFamily="34" charset="0"/>
              <a:cs typeface="Calibri" panose="020F0502020204030204" pitchFamily="34" charset="0"/>
            </a:endParaRPr>
          </a:p>
        </p:txBody>
      </p:sp>
      <p:sp>
        <p:nvSpPr>
          <p:cNvPr id="37" name="ee4pHeader1">
            <a:extLst>
              <a:ext uri="{FF2B5EF4-FFF2-40B4-BE49-F238E27FC236}">
                <a16:creationId xmlns:a16="http://schemas.microsoft.com/office/drawing/2014/main" id="{99576483-DC11-4253-A79D-8030C41DDDB7}"/>
              </a:ext>
            </a:extLst>
          </p:cNvPr>
          <p:cNvSpPr txBox="1"/>
          <p:nvPr/>
        </p:nvSpPr>
        <p:spPr>
          <a:xfrm>
            <a:off x="3466915" y="1711101"/>
            <a:ext cx="8436607" cy="447489"/>
          </a:xfrm>
          <a:prstGeom prst="rect">
            <a:avLst/>
          </a:prstGeom>
          <a:noFill/>
          <a:ln cap="rnd">
            <a:noFill/>
          </a:ln>
        </p:spPr>
        <p:txBody>
          <a:bodyPr vert="horz" wrap="square" lIns="0" tIns="0" rIns="0" bIns="0" rtlCol="0" anchor="ctr" anchorCtr="0">
            <a:noAutofit/>
          </a:bodyPr>
          <a:lstStyle/>
          <a:p>
            <a:pPr>
              <a:buSzPct val="100000"/>
              <a:buFont typeface="Trebuchet MS" panose="020B0603020202020204" pitchFamily="34" charset="0"/>
              <a:buChar char="​"/>
            </a:pPr>
            <a:r>
              <a:rPr lang="en-US" sz="1400" dirty="0">
                <a:solidFill>
                  <a:srgbClr val="000000">
                    <a:lumMod val="100000"/>
                  </a:srgbClr>
                </a:solidFill>
                <a:latin typeface="Calibri" panose="020F0502020204030204" pitchFamily="34" charset="0"/>
                <a:cs typeface="Calibri" panose="020F0502020204030204" pitchFamily="34" charset="0"/>
              </a:rPr>
              <a:t>Non-healthcare workers in critical infrastructure, who cannot perform their duties remotely and therefore face risks of work-related exposure to COVID-19</a:t>
            </a:r>
          </a:p>
        </p:txBody>
      </p:sp>
      <p:sp>
        <p:nvSpPr>
          <p:cNvPr id="43" name="TextBox 42">
            <a:extLst>
              <a:ext uri="{FF2B5EF4-FFF2-40B4-BE49-F238E27FC236}">
                <a16:creationId xmlns:a16="http://schemas.microsoft.com/office/drawing/2014/main" id="{7A252306-3D77-40FD-9AB8-1540045624C6}"/>
              </a:ext>
            </a:extLst>
          </p:cNvPr>
          <p:cNvSpPr txBox="1"/>
          <p:nvPr/>
        </p:nvSpPr>
        <p:spPr>
          <a:xfrm>
            <a:off x="3466916" y="4028241"/>
            <a:ext cx="8436607" cy="19213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Agricultural and food workers not included in previous phases</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Workers performing in-person activities indoors, in critical manufacturing, not included in previous phases; this includes aviation, production of critical supplies for the </a:t>
            </a:r>
            <a:r>
              <a:rPr lang="en-US" sz="1400" dirty="0" err="1">
                <a:solidFill>
                  <a:srgbClr val="051934"/>
                </a:solidFill>
                <a:latin typeface="Calibri" panose="020F0502020204030204" pitchFamily="34" charset="0"/>
              </a:rPr>
              <a:t>COVID</a:t>
            </a:r>
            <a:r>
              <a:rPr lang="en-US" sz="1400" dirty="0">
                <a:solidFill>
                  <a:srgbClr val="051934"/>
                </a:solidFill>
                <a:latin typeface="Calibri" panose="020F0502020204030204" pitchFamily="34" charset="0"/>
              </a:rPr>
              <a:t> response</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Utility workers</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Social service and government workers not included in previous priority phases</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Logistics workers, such as truck transportation workers, couriers and others</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Water and wastewater workers</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Shelter and housing (e.g., construction) workers, finance (e.g., bank tellers) </a:t>
            </a:r>
          </a:p>
          <a:p>
            <a:pPr marL="432000" lvl="1" indent="-288000">
              <a:buClr>
                <a:srgbClr val="051934">
                  <a:lumMod val="100000"/>
                </a:srgbClr>
              </a:buClr>
              <a:buSzPct val="100000"/>
              <a:buFont typeface="Trebuchet MS" panose="020B0603020202020204" pitchFamily="34" charset="0"/>
              <a:buChar char="•"/>
            </a:pPr>
            <a:r>
              <a:rPr lang="en-US" sz="1400" dirty="0">
                <a:solidFill>
                  <a:srgbClr val="051934"/>
                </a:solidFill>
                <a:latin typeface="Calibri" panose="020F0502020204030204" pitchFamily="34" charset="0"/>
              </a:rPr>
              <a:t>Information technology and communications workers</a:t>
            </a:r>
          </a:p>
        </p:txBody>
      </p:sp>
      <p:grpSp>
        <p:nvGrpSpPr>
          <p:cNvPr id="7" name="Group 6">
            <a:extLst>
              <a:ext uri="{FF2B5EF4-FFF2-40B4-BE49-F238E27FC236}">
                <a16:creationId xmlns:a16="http://schemas.microsoft.com/office/drawing/2014/main" id="{67BB8B50-C7E6-4019-9DC6-C2F5DD7B0D3F}"/>
              </a:ext>
            </a:extLst>
          </p:cNvPr>
          <p:cNvGrpSpPr/>
          <p:nvPr/>
        </p:nvGrpSpPr>
        <p:grpSpPr>
          <a:xfrm>
            <a:off x="-1" y="2724084"/>
            <a:ext cx="3361060" cy="738663"/>
            <a:chOff x="-1" y="2404883"/>
            <a:chExt cx="3361060" cy="738663"/>
          </a:xfrm>
        </p:grpSpPr>
        <p:sp>
          <p:nvSpPr>
            <p:cNvPr id="84" name="Rectangle: Top Corners Rounded 83">
              <a:extLst>
                <a:ext uri="{FF2B5EF4-FFF2-40B4-BE49-F238E27FC236}">
                  <a16:creationId xmlns:a16="http://schemas.microsoft.com/office/drawing/2014/main" id="{0C173FF0-8913-4568-BB91-FA2486E67040}"/>
                </a:ext>
              </a:extLst>
            </p:cNvPr>
            <p:cNvSpPr/>
            <p:nvPr/>
          </p:nvSpPr>
          <p:spPr>
            <a:xfrm rot="5400000">
              <a:off x="1311197" y="1093685"/>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7" name="ee4pHeader1">
              <a:extLst>
                <a:ext uri="{FF2B5EF4-FFF2-40B4-BE49-F238E27FC236}">
                  <a16:creationId xmlns:a16="http://schemas.microsoft.com/office/drawing/2014/main" id="{5C2CC77A-E351-4906-A254-0267BB6266B1}"/>
                </a:ext>
              </a:extLst>
            </p:cNvPr>
            <p:cNvSpPr txBox="1"/>
            <p:nvPr/>
          </p:nvSpPr>
          <p:spPr>
            <a:xfrm>
              <a:off x="288478" y="2635715"/>
              <a:ext cx="2923073" cy="276999"/>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latin typeface="+mj-lt"/>
                  <a:cs typeface="Calibri" panose="020F0502020204030204" pitchFamily="34" charset="0"/>
                </a:rPr>
                <a:t>Description</a:t>
              </a:r>
            </a:p>
          </p:txBody>
        </p:sp>
        <p:grpSp>
          <p:nvGrpSpPr>
            <p:cNvPr id="96" name="Group 95">
              <a:extLst>
                <a:ext uri="{FF2B5EF4-FFF2-40B4-BE49-F238E27FC236}">
                  <a16:creationId xmlns:a16="http://schemas.microsoft.com/office/drawing/2014/main" id="{B8D75762-8BE0-4B52-BFA9-223757726A93}"/>
                </a:ext>
              </a:extLst>
            </p:cNvPr>
            <p:cNvGrpSpPr>
              <a:grpSpLocks noChangeAspect="1"/>
            </p:cNvGrpSpPr>
            <p:nvPr/>
          </p:nvGrpSpPr>
          <p:grpSpPr>
            <a:xfrm>
              <a:off x="318602" y="2551028"/>
              <a:ext cx="445944" cy="446374"/>
              <a:chOff x="5273675" y="2605088"/>
              <a:chExt cx="1644650" cy="1646237"/>
            </a:xfrm>
          </p:grpSpPr>
          <p:sp>
            <p:nvSpPr>
              <p:cNvPr id="97" name="AutoShape 13">
                <a:extLst>
                  <a:ext uri="{FF2B5EF4-FFF2-40B4-BE49-F238E27FC236}">
                    <a16:creationId xmlns:a16="http://schemas.microsoft.com/office/drawing/2014/main" id="{9F6BF7D1-300F-4896-B3BF-701621B621F2}"/>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8" name="Group 97">
                <a:extLst>
                  <a:ext uri="{FF2B5EF4-FFF2-40B4-BE49-F238E27FC236}">
                    <a16:creationId xmlns:a16="http://schemas.microsoft.com/office/drawing/2014/main" id="{FA3813C0-6524-40FD-8EA2-FCDA99765104}"/>
                  </a:ext>
                </a:extLst>
              </p:cNvPr>
              <p:cNvGrpSpPr/>
              <p:nvPr/>
            </p:nvGrpSpPr>
            <p:grpSpPr>
              <a:xfrm>
                <a:off x="5374481" y="2739232"/>
                <a:ext cx="1443038" cy="1377949"/>
                <a:chOff x="5373687" y="2738438"/>
                <a:chExt cx="1443038" cy="1377949"/>
              </a:xfrm>
            </p:grpSpPr>
            <p:sp>
              <p:nvSpPr>
                <p:cNvPr id="99" name="Freeform 15">
                  <a:extLst>
                    <a:ext uri="{FF2B5EF4-FFF2-40B4-BE49-F238E27FC236}">
                      <a16:creationId xmlns:a16="http://schemas.microsoft.com/office/drawing/2014/main" id="{604FED90-904F-456C-80FB-86F95D970F3A}"/>
                    </a:ext>
                  </a:extLst>
                </p:cNvPr>
                <p:cNvSpPr>
                  <a:spLocks noEditPoints="1"/>
                </p:cNvSpPr>
                <p:nvPr/>
              </p:nvSpPr>
              <p:spPr bwMode="auto">
                <a:xfrm>
                  <a:off x="5737225" y="2797175"/>
                  <a:ext cx="701675" cy="582612"/>
                </a:xfrm>
                <a:custGeom>
                  <a:avLst/>
                  <a:gdLst>
                    <a:gd name="T0" fmla="*/ 958 w 983"/>
                    <a:gd name="T1" fmla="*/ 576 h 816"/>
                    <a:gd name="T2" fmla="*/ 960 w 983"/>
                    <a:gd name="T3" fmla="*/ 487 h 816"/>
                    <a:gd name="T4" fmla="*/ 139 w 983"/>
                    <a:gd name="T5" fmla="*/ 142 h 816"/>
                    <a:gd name="T6" fmla="*/ 31 w 983"/>
                    <a:gd name="T7" fmla="*/ 692 h 816"/>
                    <a:gd name="T8" fmla="*/ 48 w 983"/>
                    <a:gd name="T9" fmla="*/ 700 h 816"/>
                    <a:gd name="T10" fmla="*/ 62 w 983"/>
                    <a:gd name="T11" fmla="*/ 695 h 816"/>
                    <a:gd name="T12" fmla="*/ 65 w 983"/>
                    <a:gd name="T13" fmla="*/ 664 h 816"/>
                    <a:gd name="T14" fmla="*/ 87 w 983"/>
                    <a:gd name="T15" fmla="*/ 291 h 816"/>
                    <a:gd name="T16" fmla="*/ 212 w 983"/>
                    <a:gd name="T17" fmla="*/ 414 h 816"/>
                    <a:gd name="T18" fmla="*/ 155 w 983"/>
                    <a:gd name="T19" fmla="*/ 455 h 816"/>
                    <a:gd name="T20" fmla="*/ 242 w 983"/>
                    <a:gd name="T21" fmla="*/ 455 h 816"/>
                    <a:gd name="T22" fmla="*/ 330 w 983"/>
                    <a:gd name="T23" fmla="*/ 364 h 816"/>
                    <a:gd name="T24" fmla="*/ 353 w 983"/>
                    <a:gd name="T25" fmla="*/ 365 h 816"/>
                    <a:gd name="T26" fmla="*/ 408 w 983"/>
                    <a:gd name="T27" fmla="*/ 467 h 816"/>
                    <a:gd name="T28" fmla="*/ 376 w 983"/>
                    <a:gd name="T29" fmla="*/ 659 h 816"/>
                    <a:gd name="T30" fmla="*/ 349 w 983"/>
                    <a:gd name="T31" fmla="*/ 679 h 816"/>
                    <a:gd name="T32" fmla="*/ 170 w 983"/>
                    <a:gd name="T33" fmla="*/ 675 h 816"/>
                    <a:gd name="T34" fmla="*/ 122 w 983"/>
                    <a:gd name="T35" fmla="*/ 676 h 816"/>
                    <a:gd name="T36" fmla="*/ 104 w 983"/>
                    <a:gd name="T37" fmla="*/ 712 h 816"/>
                    <a:gd name="T38" fmla="*/ 147 w 983"/>
                    <a:gd name="T39" fmla="*/ 755 h 816"/>
                    <a:gd name="T40" fmla="*/ 348 w 983"/>
                    <a:gd name="T41" fmla="*/ 723 h 816"/>
                    <a:gd name="T42" fmla="*/ 417 w 983"/>
                    <a:gd name="T43" fmla="*/ 816 h 816"/>
                    <a:gd name="T44" fmla="*/ 420 w 983"/>
                    <a:gd name="T45" fmla="*/ 729 h 816"/>
                    <a:gd name="T46" fmla="*/ 474 w 983"/>
                    <a:gd name="T47" fmla="*/ 740 h 816"/>
                    <a:gd name="T48" fmla="*/ 558 w 983"/>
                    <a:gd name="T49" fmla="*/ 739 h 816"/>
                    <a:gd name="T50" fmla="*/ 617 w 983"/>
                    <a:gd name="T51" fmla="*/ 735 h 816"/>
                    <a:gd name="T52" fmla="*/ 626 w 983"/>
                    <a:gd name="T53" fmla="*/ 816 h 816"/>
                    <a:gd name="T54" fmla="*/ 682 w 983"/>
                    <a:gd name="T55" fmla="*/ 725 h 816"/>
                    <a:gd name="T56" fmla="*/ 852 w 983"/>
                    <a:gd name="T57" fmla="*/ 765 h 816"/>
                    <a:gd name="T58" fmla="*/ 896 w 983"/>
                    <a:gd name="T59" fmla="*/ 721 h 816"/>
                    <a:gd name="T60" fmla="*/ 852 w 983"/>
                    <a:gd name="T61" fmla="*/ 678 h 816"/>
                    <a:gd name="T62" fmla="*/ 683 w 983"/>
                    <a:gd name="T63" fmla="*/ 680 h 816"/>
                    <a:gd name="T64" fmla="*/ 654 w 983"/>
                    <a:gd name="T65" fmla="*/ 659 h 816"/>
                    <a:gd name="T66" fmla="*/ 613 w 983"/>
                    <a:gd name="T67" fmla="*/ 467 h 816"/>
                    <a:gd name="T68" fmla="*/ 674 w 983"/>
                    <a:gd name="T69" fmla="*/ 366 h 816"/>
                    <a:gd name="T70" fmla="*/ 695 w 983"/>
                    <a:gd name="T71" fmla="*/ 361 h 816"/>
                    <a:gd name="T72" fmla="*/ 765 w 983"/>
                    <a:gd name="T73" fmla="*/ 437 h 816"/>
                    <a:gd name="T74" fmla="*/ 852 w 983"/>
                    <a:gd name="T75" fmla="*/ 437 h 816"/>
                    <a:gd name="T76" fmla="*/ 796 w 983"/>
                    <a:gd name="T77" fmla="*/ 395 h 816"/>
                    <a:gd name="T78" fmla="*/ 870 w 983"/>
                    <a:gd name="T79" fmla="*/ 286 h 816"/>
                    <a:gd name="T80" fmla="*/ 916 w 983"/>
                    <a:gd name="T81" fmla="*/ 505 h 816"/>
                    <a:gd name="T82" fmla="*/ 914 w 983"/>
                    <a:gd name="T83" fmla="*/ 572 h 816"/>
                    <a:gd name="T84" fmla="*/ 939 w 983"/>
                    <a:gd name="T85" fmla="*/ 668 h 816"/>
                    <a:gd name="T86" fmla="*/ 977 w 983"/>
                    <a:gd name="T87" fmla="*/ 647 h 816"/>
                    <a:gd name="T88" fmla="*/ 612 w 983"/>
                    <a:gd name="T89" fmla="*/ 673 h 816"/>
                    <a:gd name="T90" fmla="*/ 547 w 983"/>
                    <a:gd name="T91" fmla="*/ 696 h 816"/>
                    <a:gd name="T92" fmla="*/ 484 w 983"/>
                    <a:gd name="T93" fmla="*/ 697 h 816"/>
                    <a:gd name="T94" fmla="*/ 418 w 983"/>
                    <a:gd name="T95" fmla="*/ 673 h 816"/>
                    <a:gd name="T96" fmla="*/ 468 w 983"/>
                    <a:gd name="T97" fmla="*/ 507 h 816"/>
                    <a:gd name="T98" fmla="*/ 532 w 983"/>
                    <a:gd name="T99" fmla="*/ 489 h 816"/>
                    <a:gd name="T100" fmla="*/ 609 w 983"/>
                    <a:gd name="T101" fmla="*/ 665 h 816"/>
                    <a:gd name="T102" fmla="*/ 569 w 983"/>
                    <a:gd name="T103" fmla="*/ 423 h 816"/>
                    <a:gd name="T104" fmla="*/ 489 w 983"/>
                    <a:gd name="T105" fmla="*/ 445 h 816"/>
                    <a:gd name="T106" fmla="*/ 390 w 983"/>
                    <a:gd name="T107" fmla="*/ 341 h 816"/>
                    <a:gd name="T108" fmla="*/ 636 w 983"/>
                    <a:gd name="T109" fmla="*/ 343 h 816"/>
                    <a:gd name="T110" fmla="*/ 703 w 983"/>
                    <a:gd name="T111" fmla="*/ 290 h 816"/>
                    <a:gd name="T112" fmla="*/ 639 w 983"/>
                    <a:gd name="T113" fmla="*/ 297 h 816"/>
                    <a:gd name="T114" fmla="*/ 344 w 983"/>
                    <a:gd name="T115" fmla="*/ 279 h 816"/>
                    <a:gd name="T116" fmla="*/ 109 w 983"/>
                    <a:gd name="T117" fmla="*/ 251 h 816"/>
                    <a:gd name="T118" fmla="*/ 848 w 983"/>
                    <a:gd name="T119" fmla="*/ 24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3" h="816">
                      <a:moveTo>
                        <a:pt x="977" y="647"/>
                      </a:moveTo>
                      <a:cubicBezTo>
                        <a:pt x="958" y="612"/>
                        <a:pt x="957" y="586"/>
                        <a:pt x="958" y="576"/>
                      </a:cubicBezTo>
                      <a:cubicBezTo>
                        <a:pt x="960" y="552"/>
                        <a:pt x="960" y="528"/>
                        <a:pt x="960" y="505"/>
                      </a:cubicBezTo>
                      <a:cubicBezTo>
                        <a:pt x="960" y="499"/>
                        <a:pt x="960" y="493"/>
                        <a:pt x="960" y="487"/>
                      </a:cubicBezTo>
                      <a:cubicBezTo>
                        <a:pt x="960" y="214"/>
                        <a:pt x="749" y="0"/>
                        <a:pt x="481" y="0"/>
                      </a:cubicBezTo>
                      <a:cubicBezTo>
                        <a:pt x="350" y="0"/>
                        <a:pt x="229" y="50"/>
                        <a:pt x="139" y="142"/>
                      </a:cubicBezTo>
                      <a:cubicBezTo>
                        <a:pt x="49" y="234"/>
                        <a:pt x="0" y="356"/>
                        <a:pt x="0" y="487"/>
                      </a:cubicBezTo>
                      <a:cubicBezTo>
                        <a:pt x="0" y="489"/>
                        <a:pt x="2" y="657"/>
                        <a:pt x="31" y="692"/>
                      </a:cubicBezTo>
                      <a:cubicBezTo>
                        <a:pt x="33" y="694"/>
                        <a:pt x="35" y="696"/>
                        <a:pt x="37" y="697"/>
                      </a:cubicBezTo>
                      <a:cubicBezTo>
                        <a:pt x="41" y="699"/>
                        <a:pt x="45" y="700"/>
                        <a:pt x="48" y="700"/>
                      </a:cubicBezTo>
                      <a:cubicBezTo>
                        <a:pt x="49" y="700"/>
                        <a:pt x="49" y="700"/>
                        <a:pt x="50" y="700"/>
                      </a:cubicBezTo>
                      <a:cubicBezTo>
                        <a:pt x="54" y="699"/>
                        <a:pt x="59" y="698"/>
                        <a:pt x="62" y="695"/>
                      </a:cubicBezTo>
                      <a:cubicBezTo>
                        <a:pt x="68" y="690"/>
                        <a:pt x="70" y="684"/>
                        <a:pt x="70" y="677"/>
                      </a:cubicBezTo>
                      <a:cubicBezTo>
                        <a:pt x="70" y="672"/>
                        <a:pt x="68" y="668"/>
                        <a:pt x="65" y="664"/>
                      </a:cubicBezTo>
                      <a:cubicBezTo>
                        <a:pt x="55" y="650"/>
                        <a:pt x="44" y="555"/>
                        <a:pt x="44" y="487"/>
                      </a:cubicBezTo>
                      <a:cubicBezTo>
                        <a:pt x="44" y="416"/>
                        <a:pt x="60" y="350"/>
                        <a:pt x="87" y="291"/>
                      </a:cubicBezTo>
                      <a:cubicBezTo>
                        <a:pt x="299" y="333"/>
                        <a:pt x="299" y="333"/>
                        <a:pt x="299" y="333"/>
                      </a:cubicBezTo>
                      <a:cubicBezTo>
                        <a:pt x="212" y="414"/>
                        <a:pt x="212" y="414"/>
                        <a:pt x="212" y="414"/>
                      </a:cubicBezTo>
                      <a:cubicBezTo>
                        <a:pt x="207" y="413"/>
                        <a:pt x="203" y="412"/>
                        <a:pt x="198" y="412"/>
                      </a:cubicBezTo>
                      <a:cubicBezTo>
                        <a:pt x="174" y="412"/>
                        <a:pt x="155" y="431"/>
                        <a:pt x="155" y="455"/>
                      </a:cubicBezTo>
                      <a:cubicBezTo>
                        <a:pt x="155" y="479"/>
                        <a:pt x="174" y="499"/>
                        <a:pt x="198" y="499"/>
                      </a:cubicBezTo>
                      <a:cubicBezTo>
                        <a:pt x="222" y="499"/>
                        <a:pt x="242" y="479"/>
                        <a:pt x="242" y="455"/>
                      </a:cubicBezTo>
                      <a:cubicBezTo>
                        <a:pt x="242" y="452"/>
                        <a:pt x="242" y="449"/>
                        <a:pt x="241" y="447"/>
                      </a:cubicBezTo>
                      <a:cubicBezTo>
                        <a:pt x="330" y="364"/>
                        <a:pt x="330" y="364"/>
                        <a:pt x="330" y="364"/>
                      </a:cubicBezTo>
                      <a:cubicBezTo>
                        <a:pt x="335" y="365"/>
                        <a:pt x="339" y="366"/>
                        <a:pt x="344" y="366"/>
                      </a:cubicBezTo>
                      <a:cubicBezTo>
                        <a:pt x="347" y="366"/>
                        <a:pt x="350" y="366"/>
                        <a:pt x="353" y="365"/>
                      </a:cubicBezTo>
                      <a:cubicBezTo>
                        <a:pt x="413" y="445"/>
                        <a:pt x="413" y="445"/>
                        <a:pt x="413" y="445"/>
                      </a:cubicBezTo>
                      <a:cubicBezTo>
                        <a:pt x="410" y="451"/>
                        <a:pt x="408" y="459"/>
                        <a:pt x="408" y="467"/>
                      </a:cubicBezTo>
                      <a:cubicBezTo>
                        <a:pt x="408" y="481"/>
                        <a:pt x="414" y="493"/>
                        <a:pt x="424" y="501"/>
                      </a:cubicBezTo>
                      <a:cubicBezTo>
                        <a:pt x="376" y="659"/>
                        <a:pt x="376" y="659"/>
                        <a:pt x="376" y="659"/>
                      </a:cubicBezTo>
                      <a:cubicBezTo>
                        <a:pt x="368" y="661"/>
                        <a:pt x="361" y="665"/>
                        <a:pt x="355" y="671"/>
                      </a:cubicBezTo>
                      <a:cubicBezTo>
                        <a:pt x="353" y="673"/>
                        <a:pt x="350" y="676"/>
                        <a:pt x="349" y="679"/>
                      </a:cubicBezTo>
                      <a:cubicBezTo>
                        <a:pt x="184" y="689"/>
                        <a:pt x="184" y="689"/>
                        <a:pt x="184" y="689"/>
                      </a:cubicBezTo>
                      <a:cubicBezTo>
                        <a:pt x="181" y="683"/>
                        <a:pt x="176" y="679"/>
                        <a:pt x="170" y="675"/>
                      </a:cubicBezTo>
                      <a:cubicBezTo>
                        <a:pt x="164" y="671"/>
                        <a:pt x="156" y="668"/>
                        <a:pt x="147" y="668"/>
                      </a:cubicBezTo>
                      <a:cubicBezTo>
                        <a:pt x="138" y="668"/>
                        <a:pt x="129" y="671"/>
                        <a:pt x="122" y="676"/>
                      </a:cubicBezTo>
                      <a:cubicBezTo>
                        <a:pt x="113" y="683"/>
                        <a:pt x="106" y="694"/>
                        <a:pt x="104" y="706"/>
                      </a:cubicBezTo>
                      <a:cubicBezTo>
                        <a:pt x="104" y="708"/>
                        <a:pt x="104" y="710"/>
                        <a:pt x="104" y="712"/>
                      </a:cubicBezTo>
                      <a:cubicBezTo>
                        <a:pt x="104" y="726"/>
                        <a:pt x="110" y="738"/>
                        <a:pt x="121" y="746"/>
                      </a:cubicBezTo>
                      <a:cubicBezTo>
                        <a:pt x="128" y="752"/>
                        <a:pt x="137" y="755"/>
                        <a:pt x="147" y="755"/>
                      </a:cubicBezTo>
                      <a:cubicBezTo>
                        <a:pt x="164" y="755"/>
                        <a:pt x="178" y="746"/>
                        <a:pt x="185" y="733"/>
                      </a:cubicBezTo>
                      <a:cubicBezTo>
                        <a:pt x="348" y="723"/>
                        <a:pt x="348" y="723"/>
                        <a:pt x="348" y="723"/>
                      </a:cubicBezTo>
                      <a:cubicBezTo>
                        <a:pt x="354" y="734"/>
                        <a:pt x="365" y="743"/>
                        <a:pt x="378" y="745"/>
                      </a:cubicBezTo>
                      <a:cubicBezTo>
                        <a:pt x="417" y="816"/>
                        <a:pt x="417" y="816"/>
                        <a:pt x="417" y="816"/>
                      </a:cubicBezTo>
                      <a:cubicBezTo>
                        <a:pt x="468" y="816"/>
                        <a:pt x="468" y="816"/>
                        <a:pt x="468" y="816"/>
                      </a:cubicBezTo>
                      <a:cubicBezTo>
                        <a:pt x="420" y="729"/>
                        <a:pt x="420" y="729"/>
                        <a:pt x="420" y="729"/>
                      </a:cubicBezTo>
                      <a:cubicBezTo>
                        <a:pt x="420" y="729"/>
                        <a:pt x="420" y="728"/>
                        <a:pt x="420" y="728"/>
                      </a:cubicBezTo>
                      <a:cubicBezTo>
                        <a:pt x="474" y="740"/>
                        <a:pt x="474" y="740"/>
                        <a:pt x="474" y="740"/>
                      </a:cubicBezTo>
                      <a:cubicBezTo>
                        <a:pt x="480" y="758"/>
                        <a:pt x="496" y="771"/>
                        <a:pt x="516" y="771"/>
                      </a:cubicBezTo>
                      <a:cubicBezTo>
                        <a:pt x="536" y="771"/>
                        <a:pt x="553" y="757"/>
                        <a:pt x="558" y="739"/>
                      </a:cubicBezTo>
                      <a:cubicBezTo>
                        <a:pt x="610" y="728"/>
                        <a:pt x="610" y="728"/>
                        <a:pt x="610" y="728"/>
                      </a:cubicBezTo>
                      <a:cubicBezTo>
                        <a:pt x="612" y="731"/>
                        <a:pt x="614" y="733"/>
                        <a:pt x="617" y="735"/>
                      </a:cubicBezTo>
                      <a:cubicBezTo>
                        <a:pt x="577" y="816"/>
                        <a:pt x="577" y="816"/>
                        <a:pt x="577" y="816"/>
                      </a:cubicBezTo>
                      <a:cubicBezTo>
                        <a:pt x="626" y="816"/>
                        <a:pt x="626" y="816"/>
                        <a:pt x="626" y="816"/>
                      </a:cubicBezTo>
                      <a:cubicBezTo>
                        <a:pt x="663" y="741"/>
                        <a:pt x="663" y="741"/>
                        <a:pt x="663" y="741"/>
                      </a:cubicBezTo>
                      <a:cubicBezTo>
                        <a:pt x="671" y="738"/>
                        <a:pt x="677" y="732"/>
                        <a:pt x="682" y="725"/>
                      </a:cubicBezTo>
                      <a:cubicBezTo>
                        <a:pt x="812" y="738"/>
                        <a:pt x="812" y="738"/>
                        <a:pt x="812" y="738"/>
                      </a:cubicBezTo>
                      <a:cubicBezTo>
                        <a:pt x="818" y="754"/>
                        <a:pt x="834" y="765"/>
                        <a:pt x="852" y="765"/>
                      </a:cubicBezTo>
                      <a:cubicBezTo>
                        <a:pt x="858" y="765"/>
                        <a:pt x="863" y="764"/>
                        <a:pt x="868" y="762"/>
                      </a:cubicBezTo>
                      <a:cubicBezTo>
                        <a:pt x="884" y="755"/>
                        <a:pt x="896" y="740"/>
                        <a:pt x="896" y="721"/>
                      </a:cubicBezTo>
                      <a:cubicBezTo>
                        <a:pt x="896" y="717"/>
                        <a:pt x="895" y="713"/>
                        <a:pt x="894" y="709"/>
                      </a:cubicBezTo>
                      <a:cubicBezTo>
                        <a:pt x="889" y="691"/>
                        <a:pt x="872" y="678"/>
                        <a:pt x="852" y="678"/>
                      </a:cubicBezTo>
                      <a:cubicBezTo>
                        <a:pt x="838" y="678"/>
                        <a:pt x="826" y="684"/>
                        <a:pt x="818" y="694"/>
                      </a:cubicBezTo>
                      <a:cubicBezTo>
                        <a:pt x="683" y="680"/>
                        <a:pt x="683" y="680"/>
                        <a:pt x="683" y="680"/>
                      </a:cubicBezTo>
                      <a:cubicBezTo>
                        <a:pt x="679" y="674"/>
                        <a:pt x="673" y="668"/>
                        <a:pt x="666" y="664"/>
                      </a:cubicBezTo>
                      <a:cubicBezTo>
                        <a:pt x="662" y="662"/>
                        <a:pt x="658" y="660"/>
                        <a:pt x="654" y="659"/>
                      </a:cubicBezTo>
                      <a:cubicBezTo>
                        <a:pt x="598" y="499"/>
                        <a:pt x="598" y="499"/>
                        <a:pt x="598" y="499"/>
                      </a:cubicBezTo>
                      <a:cubicBezTo>
                        <a:pt x="607" y="491"/>
                        <a:pt x="613" y="480"/>
                        <a:pt x="613" y="467"/>
                      </a:cubicBezTo>
                      <a:cubicBezTo>
                        <a:pt x="613" y="459"/>
                        <a:pt x="611" y="453"/>
                        <a:pt x="608" y="447"/>
                      </a:cubicBezTo>
                      <a:cubicBezTo>
                        <a:pt x="674" y="366"/>
                        <a:pt x="674" y="366"/>
                        <a:pt x="674" y="366"/>
                      </a:cubicBezTo>
                      <a:cubicBezTo>
                        <a:pt x="674" y="366"/>
                        <a:pt x="674" y="366"/>
                        <a:pt x="674" y="366"/>
                      </a:cubicBezTo>
                      <a:cubicBezTo>
                        <a:pt x="682" y="366"/>
                        <a:pt x="689" y="364"/>
                        <a:pt x="695" y="361"/>
                      </a:cubicBezTo>
                      <a:cubicBezTo>
                        <a:pt x="766" y="427"/>
                        <a:pt x="766" y="427"/>
                        <a:pt x="766" y="427"/>
                      </a:cubicBezTo>
                      <a:cubicBezTo>
                        <a:pt x="765" y="430"/>
                        <a:pt x="765" y="433"/>
                        <a:pt x="765" y="437"/>
                      </a:cubicBezTo>
                      <a:cubicBezTo>
                        <a:pt x="765" y="461"/>
                        <a:pt x="785" y="480"/>
                        <a:pt x="809" y="480"/>
                      </a:cubicBezTo>
                      <a:cubicBezTo>
                        <a:pt x="833" y="480"/>
                        <a:pt x="852" y="461"/>
                        <a:pt x="852" y="437"/>
                      </a:cubicBezTo>
                      <a:cubicBezTo>
                        <a:pt x="852" y="413"/>
                        <a:pt x="833" y="393"/>
                        <a:pt x="809" y="393"/>
                      </a:cubicBezTo>
                      <a:cubicBezTo>
                        <a:pt x="804" y="393"/>
                        <a:pt x="800" y="394"/>
                        <a:pt x="796" y="395"/>
                      </a:cubicBezTo>
                      <a:cubicBezTo>
                        <a:pt x="726" y="329"/>
                        <a:pt x="726" y="329"/>
                        <a:pt x="726" y="329"/>
                      </a:cubicBezTo>
                      <a:cubicBezTo>
                        <a:pt x="870" y="286"/>
                        <a:pt x="870" y="286"/>
                        <a:pt x="870" y="286"/>
                      </a:cubicBezTo>
                      <a:cubicBezTo>
                        <a:pt x="899" y="346"/>
                        <a:pt x="916" y="414"/>
                        <a:pt x="916" y="487"/>
                      </a:cubicBezTo>
                      <a:cubicBezTo>
                        <a:pt x="916" y="493"/>
                        <a:pt x="916" y="499"/>
                        <a:pt x="916" y="505"/>
                      </a:cubicBezTo>
                      <a:cubicBezTo>
                        <a:pt x="916" y="528"/>
                        <a:pt x="916" y="550"/>
                        <a:pt x="914" y="572"/>
                      </a:cubicBezTo>
                      <a:cubicBezTo>
                        <a:pt x="914" y="572"/>
                        <a:pt x="914" y="572"/>
                        <a:pt x="914" y="572"/>
                      </a:cubicBezTo>
                      <a:cubicBezTo>
                        <a:pt x="912" y="598"/>
                        <a:pt x="919" y="629"/>
                        <a:pt x="933" y="658"/>
                      </a:cubicBezTo>
                      <a:cubicBezTo>
                        <a:pt x="935" y="661"/>
                        <a:pt x="937" y="665"/>
                        <a:pt x="939" y="668"/>
                      </a:cubicBezTo>
                      <a:cubicBezTo>
                        <a:pt x="945" y="679"/>
                        <a:pt x="958" y="683"/>
                        <a:pt x="969" y="677"/>
                      </a:cubicBezTo>
                      <a:cubicBezTo>
                        <a:pt x="979" y="671"/>
                        <a:pt x="983" y="657"/>
                        <a:pt x="977" y="647"/>
                      </a:cubicBezTo>
                      <a:close/>
                      <a:moveTo>
                        <a:pt x="609" y="665"/>
                      </a:moveTo>
                      <a:cubicBezTo>
                        <a:pt x="612" y="673"/>
                        <a:pt x="612" y="673"/>
                        <a:pt x="612" y="673"/>
                      </a:cubicBezTo>
                      <a:cubicBezTo>
                        <a:pt x="609" y="677"/>
                        <a:pt x="607" y="680"/>
                        <a:pt x="605" y="684"/>
                      </a:cubicBezTo>
                      <a:cubicBezTo>
                        <a:pt x="547" y="696"/>
                        <a:pt x="547" y="696"/>
                        <a:pt x="547" y="696"/>
                      </a:cubicBezTo>
                      <a:cubicBezTo>
                        <a:pt x="539" y="688"/>
                        <a:pt x="528" y="684"/>
                        <a:pt x="516" y="684"/>
                      </a:cubicBezTo>
                      <a:cubicBezTo>
                        <a:pt x="503" y="684"/>
                        <a:pt x="492" y="689"/>
                        <a:pt x="484" y="697"/>
                      </a:cubicBezTo>
                      <a:cubicBezTo>
                        <a:pt x="425" y="684"/>
                        <a:pt x="425" y="684"/>
                        <a:pt x="425" y="684"/>
                      </a:cubicBezTo>
                      <a:cubicBezTo>
                        <a:pt x="424" y="680"/>
                        <a:pt x="421" y="676"/>
                        <a:pt x="418" y="673"/>
                      </a:cubicBezTo>
                      <a:cubicBezTo>
                        <a:pt x="419" y="669"/>
                        <a:pt x="419" y="669"/>
                        <a:pt x="419" y="669"/>
                      </a:cubicBezTo>
                      <a:cubicBezTo>
                        <a:pt x="468" y="507"/>
                        <a:pt x="468" y="507"/>
                        <a:pt x="468" y="507"/>
                      </a:cubicBezTo>
                      <a:cubicBezTo>
                        <a:pt x="477" y="503"/>
                        <a:pt x="484" y="497"/>
                        <a:pt x="489" y="489"/>
                      </a:cubicBezTo>
                      <a:cubicBezTo>
                        <a:pt x="532" y="489"/>
                        <a:pt x="532" y="489"/>
                        <a:pt x="532" y="489"/>
                      </a:cubicBezTo>
                      <a:cubicBezTo>
                        <a:pt x="537" y="497"/>
                        <a:pt x="545" y="504"/>
                        <a:pt x="554" y="507"/>
                      </a:cubicBezTo>
                      <a:lnTo>
                        <a:pt x="609" y="665"/>
                      </a:lnTo>
                      <a:close/>
                      <a:moveTo>
                        <a:pt x="570" y="423"/>
                      </a:moveTo>
                      <a:cubicBezTo>
                        <a:pt x="570" y="423"/>
                        <a:pt x="570" y="423"/>
                        <a:pt x="569" y="423"/>
                      </a:cubicBezTo>
                      <a:cubicBezTo>
                        <a:pt x="553" y="423"/>
                        <a:pt x="539" y="432"/>
                        <a:pt x="532" y="445"/>
                      </a:cubicBezTo>
                      <a:cubicBezTo>
                        <a:pt x="489" y="445"/>
                        <a:pt x="489" y="445"/>
                        <a:pt x="489" y="445"/>
                      </a:cubicBezTo>
                      <a:cubicBezTo>
                        <a:pt x="481" y="432"/>
                        <a:pt x="468" y="424"/>
                        <a:pt x="452" y="423"/>
                      </a:cubicBezTo>
                      <a:cubicBezTo>
                        <a:pt x="390" y="341"/>
                        <a:pt x="390" y="341"/>
                        <a:pt x="390" y="341"/>
                      </a:cubicBezTo>
                      <a:cubicBezTo>
                        <a:pt x="635" y="341"/>
                        <a:pt x="635" y="341"/>
                        <a:pt x="635" y="341"/>
                      </a:cubicBezTo>
                      <a:cubicBezTo>
                        <a:pt x="635" y="342"/>
                        <a:pt x="636" y="342"/>
                        <a:pt x="636" y="343"/>
                      </a:cubicBezTo>
                      <a:lnTo>
                        <a:pt x="570" y="423"/>
                      </a:lnTo>
                      <a:close/>
                      <a:moveTo>
                        <a:pt x="703" y="290"/>
                      </a:moveTo>
                      <a:cubicBezTo>
                        <a:pt x="696" y="283"/>
                        <a:pt x="686" y="279"/>
                        <a:pt x="674" y="279"/>
                      </a:cubicBezTo>
                      <a:cubicBezTo>
                        <a:pt x="660" y="279"/>
                        <a:pt x="647" y="286"/>
                        <a:pt x="639" y="297"/>
                      </a:cubicBezTo>
                      <a:cubicBezTo>
                        <a:pt x="380" y="297"/>
                        <a:pt x="380" y="297"/>
                        <a:pt x="380" y="297"/>
                      </a:cubicBezTo>
                      <a:cubicBezTo>
                        <a:pt x="372" y="286"/>
                        <a:pt x="359" y="279"/>
                        <a:pt x="344" y="279"/>
                      </a:cubicBezTo>
                      <a:cubicBezTo>
                        <a:pt x="333" y="279"/>
                        <a:pt x="322" y="284"/>
                        <a:pt x="315" y="291"/>
                      </a:cubicBezTo>
                      <a:cubicBezTo>
                        <a:pt x="109" y="251"/>
                        <a:pt x="109" y="251"/>
                        <a:pt x="109" y="251"/>
                      </a:cubicBezTo>
                      <a:cubicBezTo>
                        <a:pt x="186" y="125"/>
                        <a:pt x="322" y="44"/>
                        <a:pt x="481" y="44"/>
                      </a:cubicBezTo>
                      <a:cubicBezTo>
                        <a:pt x="637" y="44"/>
                        <a:pt x="772" y="124"/>
                        <a:pt x="848" y="246"/>
                      </a:cubicBezTo>
                      <a:lnTo>
                        <a:pt x="703" y="2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6">
                  <a:extLst>
                    <a:ext uri="{FF2B5EF4-FFF2-40B4-BE49-F238E27FC236}">
                      <a16:creationId xmlns:a16="http://schemas.microsoft.com/office/drawing/2014/main" id="{8DCD4373-8FB4-4613-9B99-5509853E85BA}"/>
                    </a:ext>
                  </a:extLst>
                </p:cNvPr>
                <p:cNvSpPr>
                  <a:spLocks/>
                </p:cNvSpPr>
                <p:nvPr/>
              </p:nvSpPr>
              <p:spPr bwMode="auto">
                <a:xfrm>
                  <a:off x="5373687" y="2738438"/>
                  <a:ext cx="1443038" cy="1377949"/>
                </a:xfrm>
                <a:custGeom>
                  <a:avLst/>
                  <a:gdLst>
                    <a:gd name="connsiteX0" fmla="*/ 1427273 w 1443038"/>
                    <a:gd name="connsiteY0" fmla="*/ 1274762 h 1377949"/>
                    <a:gd name="connsiteX1" fmla="*/ 1443038 w 1443038"/>
                    <a:gd name="connsiteY1" fmla="*/ 1290527 h 1377949"/>
                    <a:gd name="connsiteX2" fmla="*/ 1443038 w 1443038"/>
                    <a:gd name="connsiteY2" fmla="*/ 1362184 h 1377949"/>
                    <a:gd name="connsiteX3" fmla="*/ 1427273 w 1443038"/>
                    <a:gd name="connsiteY3" fmla="*/ 1377949 h 1377949"/>
                    <a:gd name="connsiteX4" fmla="*/ 1355615 w 1443038"/>
                    <a:gd name="connsiteY4" fmla="*/ 1377949 h 1377949"/>
                    <a:gd name="connsiteX5" fmla="*/ 1339850 w 1443038"/>
                    <a:gd name="connsiteY5" fmla="*/ 1362184 h 1377949"/>
                    <a:gd name="connsiteX6" fmla="*/ 1355615 w 1443038"/>
                    <a:gd name="connsiteY6" fmla="*/ 1346420 h 1377949"/>
                    <a:gd name="connsiteX7" fmla="*/ 1411509 w 1443038"/>
                    <a:gd name="connsiteY7" fmla="*/ 1346420 h 1377949"/>
                    <a:gd name="connsiteX8" fmla="*/ 1411509 w 1443038"/>
                    <a:gd name="connsiteY8" fmla="*/ 1290527 h 1377949"/>
                    <a:gd name="connsiteX9" fmla="*/ 1427273 w 1443038"/>
                    <a:gd name="connsiteY9" fmla="*/ 1274762 h 1377949"/>
                    <a:gd name="connsiteX10" fmla="*/ 15765 w 1443038"/>
                    <a:gd name="connsiteY10" fmla="*/ 1274762 h 1377949"/>
                    <a:gd name="connsiteX11" fmla="*/ 31529 w 1443038"/>
                    <a:gd name="connsiteY11" fmla="*/ 1290527 h 1377949"/>
                    <a:gd name="connsiteX12" fmla="*/ 31529 w 1443038"/>
                    <a:gd name="connsiteY12" fmla="*/ 1346420 h 1377949"/>
                    <a:gd name="connsiteX13" fmla="*/ 87423 w 1443038"/>
                    <a:gd name="connsiteY13" fmla="*/ 1346420 h 1377949"/>
                    <a:gd name="connsiteX14" fmla="*/ 103188 w 1443038"/>
                    <a:gd name="connsiteY14" fmla="*/ 1362184 h 1377949"/>
                    <a:gd name="connsiteX15" fmla="*/ 87423 w 1443038"/>
                    <a:gd name="connsiteY15" fmla="*/ 1377949 h 1377949"/>
                    <a:gd name="connsiteX16" fmla="*/ 15765 w 1443038"/>
                    <a:gd name="connsiteY16" fmla="*/ 1377949 h 1377949"/>
                    <a:gd name="connsiteX17" fmla="*/ 0 w 1443038"/>
                    <a:gd name="connsiteY17" fmla="*/ 1362184 h 1377949"/>
                    <a:gd name="connsiteX18" fmla="*/ 0 w 1443038"/>
                    <a:gd name="connsiteY18" fmla="*/ 1290527 h 1377949"/>
                    <a:gd name="connsiteX19" fmla="*/ 15765 w 1443038"/>
                    <a:gd name="connsiteY19" fmla="*/ 1274762 h 1377949"/>
                    <a:gd name="connsiteX20" fmla="*/ 502474 w 1443038"/>
                    <a:gd name="connsiteY20" fmla="*/ 969962 h 1377949"/>
                    <a:gd name="connsiteX21" fmla="*/ 513894 w 1443038"/>
                    <a:gd name="connsiteY21" fmla="*/ 969962 h 1377949"/>
                    <a:gd name="connsiteX22" fmla="*/ 533880 w 1443038"/>
                    <a:gd name="connsiteY22" fmla="*/ 986406 h 1377949"/>
                    <a:gd name="connsiteX23" fmla="*/ 544586 w 1443038"/>
                    <a:gd name="connsiteY23" fmla="*/ 994985 h 1377949"/>
                    <a:gd name="connsiteX24" fmla="*/ 718030 w 1443038"/>
                    <a:gd name="connsiteY24" fmla="*/ 1137261 h 1377949"/>
                    <a:gd name="connsiteX25" fmla="*/ 726595 w 1443038"/>
                    <a:gd name="connsiteY25" fmla="*/ 1136546 h 1377949"/>
                    <a:gd name="connsiteX26" fmla="*/ 900038 w 1443038"/>
                    <a:gd name="connsiteY26" fmla="*/ 994985 h 1377949"/>
                    <a:gd name="connsiteX27" fmla="*/ 910745 w 1443038"/>
                    <a:gd name="connsiteY27" fmla="*/ 986406 h 1377949"/>
                    <a:gd name="connsiteX28" fmla="*/ 930730 w 1443038"/>
                    <a:gd name="connsiteY28" fmla="*/ 969962 h 1377949"/>
                    <a:gd name="connsiteX29" fmla="*/ 942150 w 1443038"/>
                    <a:gd name="connsiteY29" fmla="*/ 969962 h 1377949"/>
                    <a:gd name="connsiteX30" fmla="*/ 1207669 w 1443038"/>
                    <a:gd name="connsiteY30" fmla="*/ 1017149 h 1377949"/>
                    <a:gd name="connsiteX31" fmla="*/ 1363268 w 1443038"/>
                    <a:gd name="connsiteY31" fmla="*/ 1243789 h 1377949"/>
                    <a:gd name="connsiteX32" fmla="*/ 1348279 w 1443038"/>
                    <a:gd name="connsiteY32" fmla="*/ 1265237 h 1377949"/>
                    <a:gd name="connsiteX33" fmla="*/ 96345 w 1443038"/>
                    <a:gd name="connsiteY33" fmla="*/ 1265237 h 1377949"/>
                    <a:gd name="connsiteX34" fmla="*/ 81356 w 1443038"/>
                    <a:gd name="connsiteY34" fmla="*/ 1243789 h 1377949"/>
                    <a:gd name="connsiteX35" fmla="*/ 236956 w 1443038"/>
                    <a:gd name="connsiteY35" fmla="*/ 1017149 h 1377949"/>
                    <a:gd name="connsiteX36" fmla="*/ 502474 w 1443038"/>
                    <a:gd name="connsiteY36" fmla="*/ 969962 h 1377949"/>
                    <a:gd name="connsiteX37" fmla="*/ 461962 w 1443038"/>
                    <a:gd name="connsiteY37" fmla="*/ 736600 h 1377949"/>
                    <a:gd name="connsiteX38" fmla="*/ 496284 w 1443038"/>
                    <a:gd name="connsiteY38" fmla="*/ 736600 h 1377949"/>
                    <a:gd name="connsiteX39" fmla="*/ 559922 w 1443038"/>
                    <a:gd name="connsiteY39" fmla="*/ 858347 h 1377949"/>
                    <a:gd name="connsiteX40" fmla="*/ 567072 w 1443038"/>
                    <a:gd name="connsiteY40" fmla="*/ 864043 h 1377949"/>
                    <a:gd name="connsiteX41" fmla="*/ 595673 w 1443038"/>
                    <a:gd name="connsiteY41" fmla="*/ 885402 h 1377949"/>
                    <a:gd name="connsiteX42" fmla="*/ 721519 w 1443038"/>
                    <a:gd name="connsiteY42" fmla="*/ 938800 h 1377949"/>
                    <a:gd name="connsiteX43" fmla="*/ 847364 w 1443038"/>
                    <a:gd name="connsiteY43" fmla="*/ 885402 h 1377949"/>
                    <a:gd name="connsiteX44" fmla="*/ 875966 w 1443038"/>
                    <a:gd name="connsiteY44" fmla="*/ 864043 h 1377949"/>
                    <a:gd name="connsiteX45" fmla="*/ 883116 w 1443038"/>
                    <a:gd name="connsiteY45" fmla="*/ 858347 h 1377949"/>
                    <a:gd name="connsiteX46" fmla="*/ 946754 w 1443038"/>
                    <a:gd name="connsiteY46" fmla="*/ 736600 h 1377949"/>
                    <a:gd name="connsiteX47" fmla="*/ 981075 w 1443038"/>
                    <a:gd name="connsiteY47" fmla="*/ 736600 h 1377949"/>
                    <a:gd name="connsiteX48" fmla="*/ 918152 w 1443038"/>
                    <a:gd name="connsiteY48" fmla="*/ 864043 h 1377949"/>
                    <a:gd name="connsiteX49" fmla="*/ 910287 w 1443038"/>
                    <a:gd name="connsiteY49" fmla="*/ 874722 h 1377949"/>
                    <a:gd name="connsiteX50" fmla="*/ 910287 w 1443038"/>
                    <a:gd name="connsiteY50" fmla="*/ 916728 h 1377949"/>
                    <a:gd name="connsiteX51" fmla="*/ 910287 w 1443038"/>
                    <a:gd name="connsiteY51" fmla="*/ 945919 h 1377949"/>
                    <a:gd name="connsiteX52" fmla="*/ 878826 w 1443038"/>
                    <a:gd name="connsiteY52" fmla="*/ 971550 h 1377949"/>
                    <a:gd name="connsiteX53" fmla="*/ 878826 w 1443038"/>
                    <a:gd name="connsiteY53" fmla="*/ 939511 h 1377949"/>
                    <a:gd name="connsiteX54" fmla="*/ 878826 w 1443038"/>
                    <a:gd name="connsiteY54" fmla="*/ 901065 h 1377949"/>
                    <a:gd name="connsiteX55" fmla="*/ 847364 w 1443038"/>
                    <a:gd name="connsiteY55" fmla="*/ 922424 h 1377949"/>
                    <a:gd name="connsiteX56" fmla="*/ 721519 w 1443038"/>
                    <a:gd name="connsiteY56" fmla="*/ 970126 h 1377949"/>
                    <a:gd name="connsiteX57" fmla="*/ 595673 w 1443038"/>
                    <a:gd name="connsiteY57" fmla="*/ 922424 h 1377949"/>
                    <a:gd name="connsiteX58" fmla="*/ 564212 w 1443038"/>
                    <a:gd name="connsiteY58" fmla="*/ 901065 h 1377949"/>
                    <a:gd name="connsiteX59" fmla="*/ 564212 w 1443038"/>
                    <a:gd name="connsiteY59" fmla="*/ 939511 h 1377949"/>
                    <a:gd name="connsiteX60" fmla="*/ 564212 w 1443038"/>
                    <a:gd name="connsiteY60" fmla="*/ 971550 h 1377949"/>
                    <a:gd name="connsiteX61" fmla="*/ 532750 w 1443038"/>
                    <a:gd name="connsiteY61" fmla="*/ 945919 h 1377949"/>
                    <a:gd name="connsiteX62" fmla="*/ 532750 w 1443038"/>
                    <a:gd name="connsiteY62" fmla="*/ 916728 h 1377949"/>
                    <a:gd name="connsiteX63" fmla="*/ 532750 w 1443038"/>
                    <a:gd name="connsiteY63" fmla="*/ 874722 h 1377949"/>
                    <a:gd name="connsiteX64" fmla="*/ 524885 w 1443038"/>
                    <a:gd name="connsiteY64" fmla="*/ 864043 h 1377949"/>
                    <a:gd name="connsiteX65" fmla="*/ 461962 w 1443038"/>
                    <a:gd name="connsiteY65" fmla="*/ 736600 h 1377949"/>
                    <a:gd name="connsiteX66" fmla="*/ 195101 w 1443038"/>
                    <a:gd name="connsiteY66" fmla="*/ 673100 h 1377949"/>
                    <a:gd name="connsiteX67" fmla="*/ 396526 w 1443038"/>
                    <a:gd name="connsiteY67" fmla="*/ 673100 h 1377949"/>
                    <a:gd name="connsiteX68" fmla="*/ 435810 w 1443038"/>
                    <a:gd name="connsiteY68" fmla="*/ 673100 h 1377949"/>
                    <a:gd name="connsiteX69" fmla="*/ 470095 w 1443038"/>
                    <a:gd name="connsiteY69" fmla="*/ 673100 h 1377949"/>
                    <a:gd name="connsiteX70" fmla="*/ 503666 w 1443038"/>
                    <a:gd name="connsiteY70" fmla="*/ 673100 h 1377949"/>
                    <a:gd name="connsiteX71" fmla="*/ 679377 w 1443038"/>
                    <a:gd name="connsiteY71" fmla="*/ 673100 h 1377949"/>
                    <a:gd name="connsiteX72" fmla="*/ 715090 w 1443038"/>
                    <a:gd name="connsiteY72" fmla="*/ 673100 h 1377949"/>
                    <a:gd name="connsiteX73" fmla="*/ 760804 w 1443038"/>
                    <a:gd name="connsiteY73" fmla="*/ 673100 h 1377949"/>
                    <a:gd name="connsiteX74" fmla="*/ 795803 w 1443038"/>
                    <a:gd name="connsiteY74" fmla="*/ 673100 h 1377949"/>
                    <a:gd name="connsiteX75" fmla="*/ 939371 w 1443038"/>
                    <a:gd name="connsiteY75" fmla="*/ 673100 h 1377949"/>
                    <a:gd name="connsiteX76" fmla="*/ 972942 w 1443038"/>
                    <a:gd name="connsiteY76" fmla="*/ 673100 h 1377949"/>
                    <a:gd name="connsiteX77" fmla="*/ 1007227 w 1443038"/>
                    <a:gd name="connsiteY77" fmla="*/ 673100 h 1377949"/>
                    <a:gd name="connsiteX78" fmla="*/ 1046512 w 1443038"/>
                    <a:gd name="connsiteY78" fmla="*/ 673100 h 1377949"/>
                    <a:gd name="connsiteX79" fmla="*/ 1247936 w 1443038"/>
                    <a:gd name="connsiteY79" fmla="*/ 673100 h 1377949"/>
                    <a:gd name="connsiteX80" fmla="*/ 1263650 w 1443038"/>
                    <a:gd name="connsiteY80" fmla="*/ 688975 h 1377949"/>
                    <a:gd name="connsiteX81" fmla="*/ 1247936 w 1443038"/>
                    <a:gd name="connsiteY81" fmla="*/ 704850 h 1377949"/>
                    <a:gd name="connsiteX82" fmla="*/ 1027941 w 1443038"/>
                    <a:gd name="connsiteY82" fmla="*/ 704850 h 1377949"/>
                    <a:gd name="connsiteX83" fmla="*/ 994370 w 1443038"/>
                    <a:gd name="connsiteY83" fmla="*/ 704850 h 1377949"/>
                    <a:gd name="connsiteX84" fmla="*/ 960085 w 1443038"/>
                    <a:gd name="connsiteY84" fmla="*/ 704850 h 1377949"/>
                    <a:gd name="connsiteX85" fmla="*/ 925800 w 1443038"/>
                    <a:gd name="connsiteY85" fmla="*/ 704850 h 1377949"/>
                    <a:gd name="connsiteX86" fmla="*/ 770089 w 1443038"/>
                    <a:gd name="connsiteY86" fmla="*/ 704850 h 1377949"/>
                    <a:gd name="connsiteX87" fmla="*/ 705805 w 1443038"/>
                    <a:gd name="connsiteY87" fmla="*/ 704850 h 1377949"/>
                    <a:gd name="connsiteX88" fmla="*/ 517237 w 1443038"/>
                    <a:gd name="connsiteY88" fmla="*/ 704850 h 1377949"/>
                    <a:gd name="connsiteX89" fmla="*/ 482952 w 1443038"/>
                    <a:gd name="connsiteY89" fmla="*/ 704850 h 1377949"/>
                    <a:gd name="connsiteX90" fmla="*/ 448667 w 1443038"/>
                    <a:gd name="connsiteY90" fmla="*/ 704850 h 1377949"/>
                    <a:gd name="connsiteX91" fmla="*/ 415097 w 1443038"/>
                    <a:gd name="connsiteY91" fmla="*/ 704850 h 1377949"/>
                    <a:gd name="connsiteX92" fmla="*/ 195101 w 1443038"/>
                    <a:gd name="connsiteY92" fmla="*/ 704850 h 1377949"/>
                    <a:gd name="connsiteX93" fmla="*/ 179387 w 1443038"/>
                    <a:gd name="connsiteY93" fmla="*/ 688975 h 1377949"/>
                    <a:gd name="connsiteX94" fmla="*/ 195101 w 1443038"/>
                    <a:gd name="connsiteY94" fmla="*/ 673100 h 1377949"/>
                    <a:gd name="connsiteX95" fmla="*/ 1062037 w 1443038"/>
                    <a:gd name="connsiteY95" fmla="*/ 579437 h 1377949"/>
                    <a:gd name="connsiteX96" fmla="*/ 1062037 w 1443038"/>
                    <a:gd name="connsiteY96" fmla="*/ 581548 h 1377949"/>
                    <a:gd name="connsiteX97" fmla="*/ 1034263 w 1443038"/>
                    <a:gd name="connsiteY97" fmla="*/ 641349 h 1377949"/>
                    <a:gd name="connsiteX98" fmla="*/ 985837 w 1443038"/>
                    <a:gd name="connsiteY98" fmla="*/ 641349 h 1377949"/>
                    <a:gd name="connsiteX99" fmla="*/ 992959 w 1443038"/>
                    <a:gd name="connsiteY99" fmla="*/ 633610 h 1377949"/>
                    <a:gd name="connsiteX100" fmla="*/ 1025718 w 1443038"/>
                    <a:gd name="connsiteY100" fmla="*/ 596322 h 1377949"/>
                    <a:gd name="connsiteX101" fmla="*/ 1062037 w 1443038"/>
                    <a:gd name="connsiteY101" fmla="*/ 579437 h 1377949"/>
                    <a:gd name="connsiteX102" fmla="*/ 381000 w 1443038"/>
                    <a:gd name="connsiteY102" fmla="*/ 579437 h 1377949"/>
                    <a:gd name="connsiteX103" fmla="*/ 417320 w 1443038"/>
                    <a:gd name="connsiteY103" fmla="*/ 596322 h 1377949"/>
                    <a:gd name="connsiteX104" fmla="*/ 450079 w 1443038"/>
                    <a:gd name="connsiteY104" fmla="*/ 633610 h 1377949"/>
                    <a:gd name="connsiteX105" fmla="*/ 457200 w 1443038"/>
                    <a:gd name="connsiteY105" fmla="*/ 641349 h 1377949"/>
                    <a:gd name="connsiteX106" fmla="*/ 408774 w 1443038"/>
                    <a:gd name="connsiteY106" fmla="*/ 641349 h 1377949"/>
                    <a:gd name="connsiteX107" fmla="*/ 381000 w 1443038"/>
                    <a:gd name="connsiteY107" fmla="*/ 582955 h 1377949"/>
                    <a:gd name="connsiteX108" fmla="*/ 381000 w 1443038"/>
                    <a:gd name="connsiteY108" fmla="*/ 579437 h 1377949"/>
                    <a:gd name="connsiteX109" fmla="*/ 1355615 w 1443038"/>
                    <a:gd name="connsiteY109" fmla="*/ 0 h 1377949"/>
                    <a:gd name="connsiteX110" fmla="*/ 1427273 w 1443038"/>
                    <a:gd name="connsiteY110" fmla="*/ 0 h 1377949"/>
                    <a:gd name="connsiteX111" fmla="*/ 1443038 w 1443038"/>
                    <a:gd name="connsiteY111" fmla="*/ 15765 h 1377949"/>
                    <a:gd name="connsiteX112" fmla="*/ 1443038 w 1443038"/>
                    <a:gd name="connsiteY112" fmla="*/ 87422 h 1377949"/>
                    <a:gd name="connsiteX113" fmla="*/ 1427273 w 1443038"/>
                    <a:gd name="connsiteY113" fmla="*/ 103187 h 1377949"/>
                    <a:gd name="connsiteX114" fmla="*/ 1411509 w 1443038"/>
                    <a:gd name="connsiteY114" fmla="*/ 87422 h 1377949"/>
                    <a:gd name="connsiteX115" fmla="*/ 1411509 w 1443038"/>
                    <a:gd name="connsiteY115" fmla="*/ 31529 h 1377949"/>
                    <a:gd name="connsiteX116" fmla="*/ 1355615 w 1443038"/>
                    <a:gd name="connsiteY116" fmla="*/ 31529 h 1377949"/>
                    <a:gd name="connsiteX117" fmla="*/ 1339850 w 1443038"/>
                    <a:gd name="connsiteY117" fmla="*/ 15765 h 1377949"/>
                    <a:gd name="connsiteX118" fmla="*/ 1355615 w 1443038"/>
                    <a:gd name="connsiteY118" fmla="*/ 0 h 1377949"/>
                    <a:gd name="connsiteX119" fmla="*/ 15765 w 1443038"/>
                    <a:gd name="connsiteY119" fmla="*/ 0 h 1377949"/>
                    <a:gd name="connsiteX120" fmla="*/ 87423 w 1443038"/>
                    <a:gd name="connsiteY120" fmla="*/ 0 h 1377949"/>
                    <a:gd name="connsiteX121" fmla="*/ 103188 w 1443038"/>
                    <a:gd name="connsiteY121" fmla="*/ 15765 h 1377949"/>
                    <a:gd name="connsiteX122" fmla="*/ 87423 w 1443038"/>
                    <a:gd name="connsiteY122" fmla="*/ 31529 h 1377949"/>
                    <a:gd name="connsiteX123" fmla="*/ 31529 w 1443038"/>
                    <a:gd name="connsiteY123" fmla="*/ 31529 h 1377949"/>
                    <a:gd name="connsiteX124" fmla="*/ 31529 w 1443038"/>
                    <a:gd name="connsiteY124" fmla="*/ 87422 h 1377949"/>
                    <a:gd name="connsiteX125" fmla="*/ 15765 w 1443038"/>
                    <a:gd name="connsiteY125" fmla="*/ 103187 h 1377949"/>
                    <a:gd name="connsiteX126" fmla="*/ 0 w 1443038"/>
                    <a:gd name="connsiteY126" fmla="*/ 87422 h 1377949"/>
                    <a:gd name="connsiteX127" fmla="*/ 0 w 1443038"/>
                    <a:gd name="connsiteY127" fmla="*/ 15765 h 1377949"/>
                    <a:gd name="connsiteX128" fmla="*/ 15765 w 1443038"/>
                    <a:gd name="connsiteY128" fmla="*/ 0 h 137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443038" h="1377949">
                      <a:moveTo>
                        <a:pt x="1427273" y="1274762"/>
                      </a:moveTo>
                      <a:cubicBezTo>
                        <a:pt x="1435872" y="1274762"/>
                        <a:pt x="1443038" y="1281928"/>
                        <a:pt x="1443038" y="1290527"/>
                      </a:cubicBezTo>
                      <a:cubicBezTo>
                        <a:pt x="1443038" y="1290527"/>
                        <a:pt x="1443038" y="1290527"/>
                        <a:pt x="1443038" y="1362184"/>
                      </a:cubicBezTo>
                      <a:cubicBezTo>
                        <a:pt x="1443038" y="1371500"/>
                        <a:pt x="1435872" y="1377949"/>
                        <a:pt x="1427273" y="1377949"/>
                      </a:cubicBezTo>
                      <a:cubicBezTo>
                        <a:pt x="1427273" y="1377949"/>
                        <a:pt x="1427273" y="1377949"/>
                        <a:pt x="1355615" y="1377949"/>
                      </a:cubicBezTo>
                      <a:cubicBezTo>
                        <a:pt x="1347016" y="1377949"/>
                        <a:pt x="1339850" y="1371500"/>
                        <a:pt x="1339850" y="1362184"/>
                      </a:cubicBezTo>
                      <a:cubicBezTo>
                        <a:pt x="1339850" y="1353586"/>
                        <a:pt x="1347016" y="1346420"/>
                        <a:pt x="1355615" y="1346420"/>
                      </a:cubicBezTo>
                      <a:cubicBezTo>
                        <a:pt x="1355615" y="1346420"/>
                        <a:pt x="1355615" y="1346420"/>
                        <a:pt x="1411509" y="1346420"/>
                      </a:cubicBezTo>
                      <a:cubicBezTo>
                        <a:pt x="1411509" y="1346420"/>
                        <a:pt x="1411509" y="1346420"/>
                        <a:pt x="1411509" y="1290527"/>
                      </a:cubicBezTo>
                      <a:cubicBezTo>
                        <a:pt x="1411509" y="1281928"/>
                        <a:pt x="1418674" y="1274762"/>
                        <a:pt x="1427273" y="1274762"/>
                      </a:cubicBezTo>
                      <a:close/>
                      <a:moveTo>
                        <a:pt x="15765" y="1274762"/>
                      </a:moveTo>
                      <a:cubicBezTo>
                        <a:pt x="24364" y="1274762"/>
                        <a:pt x="31529" y="1281928"/>
                        <a:pt x="31529" y="1290527"/>
                      </a:cubicBezTo>
                      <a:cubicBezTo>
                        <a:pt x="31529" y="1290527"/>
                        <a:pt x="31529" y="1290527"/>
                        <a:pt x="31529" y="1346420"/>
                      </a:cubicBezTo>
                      <a:cubicBezTo>
                        <a:pt x="31529" y="1346420"/>
                        <a:pt x="31529" y="1346420"/>
                        <a:pt x="87423" y="1346420"/>
                      </a:cubicBezTo>
                      <a:cubicBezTo>
                        <a:pt x="96022" y="1346420"/>
                        <a:pt x="103188" y="1353586"/>
                        <a:pt x="103188" y="1362184"/>
                      </a:cubicBezTo>
                      <a:cubicBezTo>
                        <a:pt x="103188" y="1371500"/>
                        <a:pt x="96022" y="1377949"/>
                        <a:pt x="87423" y="1377949"/>
                      </a:cubicBezTo>
                      <a:cubicBezTo>
                        <a:pt x="87423" y="1377949"/>
                        <a:pt x="87423" y="1377949"/>
                        <a:pt x="15765" y="1377949"/>
                      </a:cubicBezTo>
                      <a:cubicBezTo>
                        <a:pt x="7166" y="1377949"/>
                        <a:pt x="0" y="1371500"/>
                        <a:pt x="0" y="1362184"/>
                      </a:cubicBezTo>
                      <a:cubicBezTo>
                        <a:pt x="0" y="1362184"/>
                        <a:pt x="0" y="1362184"/>
                        <a:pt x="0" y="1290527"/>
                      </a:cubicBezTo>
                      <a:cubicBezTo>
                        <a:pt x="0" y="1281928"/>
                        <a:pt x="7166" y="1274762"/>
                        <a:pt x="15765" y="1274762"/>
                      </a:cubicBezTo>
                      <a:close/>
                      <a:moveTo>
                        <a:pt x="502474" y="969962"/>
                      </a:moveTo>
                      <a:cubicBezTo>
                        <a:pt x="509612" y="969962"/>
                        <a:pt x="513894" y="969962"/>
                        <a:pt x="513894" y="969962"/>
                      </a:cubicBezTo>
                      <a:cubicBezTo>
                        <a:pt x="513894" y="969962"/>
                        <a:pt x="521032" y="975682"/>
                        <a:pt x="533880" y="986406"/>
                      </a:cubicBezTo>
                      <a:cubicBezTo>
                        <a:pt x="537448" y="989266"/>
                        <a:pt x="541017" y="992126"/>
                        <a:pt x="544586" y="994985"/>
                      </a:cubicBezTo>
                      <a:cubicBezTo>
                        <a:pt x="588839" y="1032163"/>
                        <a:pt x="671635" y="1100083"/>
                        <a:pt x="718030" y="1137261"/>
                      </a:cubicBezTo>
                      <a:cubicBezTo>
                        <a:pt x="720885" y="1138691"/>
                        <a:pt x="724453" y="1138691"/>
                        <a:pt x="726595" y="1136546"/>
                      </a:cubicBezTo>
                      <a:cubicBezTo>
                        <a:pt x="787264" y="1087929"/>
                        <a:pt x="860068" y="1028588"/>
                        <a:pt x="900038" y="994985"/>
                      </a:cubicBezTo>
                      <a:cubicBezTo>
                        <a:pt x="903607" y="992126"/>
                        <a:pt x="907176" y="989266"/>
                        <a:pt x="910745" y="986406"/>
                      </a:cubicBezTo>
                      <a:cubicBezTo>
                        <a:pt x="923592" y="975682"/>
                        <a:pt x="930730" y="969962"/>
                        <a:pt x="930730" y="969962"/>
                      </a:cubicBezTo>
                      <a:cubicBezTo>
                        <a:pt x="930730" y="969962"/>
                        <a:pt x="935013" y="969962"/>
                        <a:pt x="942150" y="969962"/>
                      </a:cubicBezTo>
                      <a:cubicBezTo>
                        <a:pt x="982835" y="971392"/>
                        <a:pt x="1124873" y="978542"/>
                        <a:pt x="1207669" y="1017149"/>
                      </a:cubicBezTo>
                      <a:cubicBezTo>
                        <a:pt x="1286182" y="1052897"/>
                        <a:pt x="1343283" y="1190882"/>
                        <a:pt x="1363268" y="1243789"/>
                      </a:cubicBezTo>
                      <a:cubicBezTo>
                        <a:pt x="1366837" y="1253798"/>
                        <a:pt x="1359700" y="1265237"/>
                        <a:pt x="1348279" y="1265237"/>
                      </a:cubicBezTo>
                      <a:cubicBezTo>
                        <a:pt x="1348279" y="1265237"/>
                        <a:pt x="1348279" y="1265237"/>
                        <a:pt x="96345" y="1265237"/>
                      </a:cubicBezTo>
                      <a:cubicBezTo>
                        <a:pt x="84924" y="1265237"/>
                        <a:pt x="77787" y="1253798"/>
                        <a:pt x="81356" y="1243789"/>
                      </a:cubicBezTo>
                      <a:cubicBezTo>
                        <a:pt x="101341" y="1190882"/>
                        <a:pt x="158442" y="1052897"/>
                        <a:pt x="236956" y="1017149"/>
                      </a:cubicBezTo>
                      <a:cubicBezTo>
                        <a:pt x="319752" y="978542"/>
                        <a:pt x="461790" y="971392"/>
                        <a:pt x="502474" y="969962"/>
                      </a:cubicBezTo>
                      <a:close/>
                      <a:moveTo>
                        <a:pt x="461962" y="736600"/>
                      </a:moveTo>
                      <a:cubicBezTo>
                        <a:pt x="461962" y="736600"/>
                        <a:pt x="461962" y="736600"/>
                        <a:pt x="496284" y="736600"/>
                      </a:cubicBezTo>
                      <a:cubicBezTo>
                        <a:pt x="520595" y="792846"/>
                        <a:pt x="547051" y="846955"/>
                        <a:pt x="559922" y="858347"/>
                      </a:cubicBezTo>
                      <a:cubicBezTo>
                        <a:pt x="562067" y="860483"/>
                        <a:pt x="564927" y="861907"/>
                        <a:pt x="567072" y="864043"/>
                      </a:cubicBezTo>
                      <a:cubicBezTo>
                        <a:pt x="574937" y="870450"/>
                        <a:pt x="584948" y="877570"/>
                        <a:pt x="595673" y="885402"/>
                      </a:cubicBezTo>
                      <a:cubicBezTo>
                        <a:pt x="634285" y="911033"/>
                        <a:pt x="687912" y="938800"/>
                        <a:pt x="721519" y="938800"/>
                      </a:cubicBezTo>
                      <a:cubicBezTo>
                        <a:pt x="755125" y="938800"/>
                        <a:pt x="808753" y="911033"/>
                        <a:pt x="847364" y="885402"/>
                      </a:cubicBezTo>
                      <a:cubicBezTo>
                        <a:pt x="858090" y="877570"/>
                        <a:pt x="868100" y="870450"/>
                        <a:pt x="875966" y="864043"/>
                      </a:cubicBezTo>
                      <a:cubicBezTo>
                        <a:pt x="878111" y="861907"/>
                        <a:pt x="880971" y="860483"/>
                        <a:pt x="883116" y="858347"/>
                      </a:cubicBezTo>
                      <a:cubicBezTo>
                        <a:pt x="895986" y="846955"/>
                        <a:pt x="922443" y="792846"/>
                        <a:pt x="946754" y="736600"/>
                      </a:cubicBezTo>
                      <a:cubicBezTo>
                        <a:pt x="946754" y="736600"/>
                        <a:pt x="946754" y="736600"/>
                        <a:pt x="981075" y="736600"/>
                      </a:cubicBezTo>
                      <a:cubicBezTo>
                        <a:pt x="961769" y="782878"/>
                        <a:pt x="936743" y="835564"/>
                        <a:pt x="918152" y="864043"/>
                      </a:cubicBezTo>
                      <a:cubicBezTo>
                        <a:pt x="915292" y="868315"/>
                        <a:pt x="912432" y="871874"/>
                        <a:pt x="910287" y="874722"/>
                      </a:cubicBezTo>
                      <a:cubicBezTo>
                        <a:pt x="910287" y="874722"/>
                        <a:pt x="910287" y="874722"/>
                        <a:pt x="910287" y="916728"/>
                      </a:cubicBezTo>
                      <a:cubicBezTo>
                        <a:pt x="910287" y="916728"/>
                        <a:pt x="910287" y="916728"/>
                        <a:pt x="910287" y="945919"/>
                      </a:cubicBezTo>
                      <a:cubicBezTo>
                        <a:pt x="908142" y="947343"/>
                        <a:pt x="896701" y="957311"/>
                        <a:pt x="878826" y="971550"/>
                      </a:cubicBezTo>
                      <a:lnTo>
                        <a:pt x="878826" y="939511"/>
                      </a:lnTo>
                      <a:cubicBezTo>
                        <a:pt x="878826" y="939511"/>
                        <a:pt x="878826" y="939511"/>
                        <a:pt x="878826" y="901065"/>
                      </a:cubicBezTo>
                      <a:cubicBezTo>
                        <a:pt x="869530" y="908185"/>
                        <a:pt x="858805" y="915305"/>
                        <a:pt x="847364" y="922424"/>
                      </a:cubicBezTo>
                      <a:cubicBezTo>
                        <a:pt x="807323" y="946631"/>
                        <a:pt x="757985" y="970126"/>
                        <a:pt x="721519" y="970126"/>
                      </a:cubicBezTo>
                      <a:cubicBezTo>
                        <a:pt x="685052" y="970126"/>
                        <a:pt x="635715" y="946631"/>
                        <a:pt x="595673" y="922424"/>
                      </a:cubicBezTo>
                      <a:cubicBezTo>
                        <a:pt x="584233" y="915305"/>
                        <a:pt x="573507" y="908185"/>
                        <a:pt x="564212" y="901065"/>
                      </a:cubicBezTo>
                      <a:cubicBezTo>
                        <a:pt x="564212" y="901065"/>
                        <a:pt x="564212" y="901065"/>
                        <a:pt x="564212" y="939511"/>
                      </a:cubicBezTo>
                      <a:cubicBezTo>
                        <a:pt x="564212" y="939511"/>
                        <a:pt x="564212" y="939511"/>
                        <a:pt x="564212" y="971550"/>
                      </a:cubicBezTo>
                      <a:cubicBezTo>
                        <a:pt x="547051" y="957311"/>
                        <a:pt x="534895" y="947343"/>
                        <a:pt x="532750" y="945919"/>
                      </a:cubicBezTo>
                      <a:cubicBezTo>
                        <a:pt x="532750" y="945919"/>
                        <a:pt x="532750" y="945919"/>
                        <a:pt x="532750" y="916728"/>
                      </a:cubicBezTo>
                      <a:cubicBezTo>
                        <a:pt x="532750" y="916728"/>
                        <a:pt x="532750" y="916728"/>
                        <a:pt x="532750" y="874722"/>
                      </a:cubicBezTo>
                      <a:cubicBezTo>
                        <a:pt x="530605" y="871874"/>
                        <a:pt x="527745" y="868315"/>
                        <a:pt x="524885" y="864043"/>
                      </a:cubicBezTo>
                      <a:cubicBezTo>
                        <a:pt x="506294" y="835564"/>
                        <a:pt x="481268" y="782878"/>
                        <a:pt x="461962" y="736600"/>
                      </a:cubicBezTo>
                      <a:close/>
                      <a:moveTo>
                        <a:pt x="195101" y="673100"/>
                      </a:moveTo>
                      <a:cubicBezTo>
                        <a:pt x="195101" y="673100"/>
                        <a:pt x="195101" y="673100"/>
                        <a:pt x="396526" y="673100"/>
                      </a:cubicBezTo>
                      <a:cubicBezTo>
                        <a:pt x="396526" y="673100"/>
                        <a:pt x="396526" y="673100"/>
                        <a:pt x="435810" y="673100"/>
                      </a:cubicBezTo>
                      <a:cubicBezTo>
                        <a:pt x="435810" y="673100"/>
                        <a:pt x="435810" y="673100"/>
                        <a:pt x="470095" y="673100"/>
                      </a:cubicBezTo>
                      <a:cubicBezTo>
                        <a:pt x="470095" y="673100"/>
                        <a:pt x="470095" y="673100"/>
                        <a:pt x="503666" y="673100"/>
                      </a:cubicBezTo>
                      <a:cubicBezTo>
                        <a:pt x="503666" y="673100"/>
                        <a:pt x="503666" y="673100"/>
                        <a:pt x="679377" y="673100"/>
                      </a:cubicBezTo>
                      <a:cubicBezTo>
                        <a:pt x="679377" y="673100"/>
                        <a:pt x="679377" y="673100"/>
                        <a:pt x="715090" y="673100"/>
                      </a:cubicBezTo>
                      <a:cubicBezTo>
                        <a:pt x="715090" y="673100"/>
                        <a:pt x="715090" y="673100"/>
                        <a:pt x="760804" y="673100"/>
                      </a:cubicBezTo>
                      <a:cubicBezTo>
                        <a:pt x="760804" y="673100"/>
                        <a:pt x="760804" y="673100"/>
                        <a:pt x="795803" y="673100"/>
                      </a:cubicBezTo>
                      <a:cubicBezTo>
                        <a:pt x="795803" y="673100"/>
                        <a:pt x="795803" y="673100"/>
                        <a:pt x="939371" y="673100"/>
                      </a:cubicBezTo>
                      <a:cubicBezTo>
                        <a:pt x="939371" y="673100"/>
                        <a:pt x="939371" y="673100"/>
                        <a:pt x="972942" y="673100"/>
                      </a:cubicBezTo>
                      <a:cubicBezTo>
                        <a:pt x="972942" y="673100"/>
                        <a:pt x="972942" y="673100"/>
                        <a:pt x="1007227" y="673100"/>
                      </a:cubicBezTo>
                      <a:cubicBezTo>
                        <a:pt x="1007227" y="673100"/>
                        <a:pt x="1007227" y="673100"/>
                        <a:pt x="1046512" y="673100"/>
                      </a:cubicBezTo>
                      <a:cubicBezTo>
                        <a:pt x="1046512" y="673100"/>
                        <a:pt x="1046512" y="673100"/>
                        <a:pt x="1247936" y="673100"/>
                      </a:cubicBezTo>
                      <a:cubicBezTo>
                        <a:pt x="1256507" y="673100"/>
                        <a:pt x="1263650" y="680316"/>
                        <a:pt x="1263650" y="688975"/>
                      </a:cubicBezTo>
                      <a:cubicBezTo>
                        <a:pt x="1263650" y="697634"/>
                        <a:pt x="1256507" y="704850"/>
                        <a:pt x="1247936" y="704850"/>
                      </a:cubicBezTo>
                      <a:cubicBezTo>
                        <a:pt x="1247936" y="704850"/>
                        <a:pt x="1247936" y="704850"/>
                        <a:pt x="1027941" y="704850"/>
                      </a:cubicBezTo>
                      <a:cubicBezTo>
                        <a:pt x="1027941" y="704850"/>
                        <a:pt x="1027941" y="704850"/>
                        <a:pt x="994370" y="704850"/>
                      </a:cubicBezTo>
                      <a:cubicBezTo>
                        <a:pt x="994370" y="704850"/>
                        <a:pt x="994370" y="704850"/>
                        <a:pt x="960085" y="704850"/>
                      </a:cubicBezTo>
                      <a:cubicBezTo>
                        <a:pt x="960085" y="704850"/>
                        <a:pt x="960085" y="704850"/>
                        <a:pt x="925800" y="704850"/>
                      </a:cubicBezTo>
                      <a:cubicBezTo>
                        <a:pt x="925800" y="704850"/>
                        <a:pt x="925800" y="704850"/>
                        <a:pt x="770089" y="704850"/>
                      </a:cubicBezTo>
                      <a:cubicBezTo>
                        <a:pt x="770089" y="704850"/>
                        <a:pt x="770089" y="704850"/>
                        <a:pt x="705805" y="704850"/>
                      </a:cubicBezTo>
                      <a:cubicBezTo>
                        <a:pt x="705805" y="704850"/>
                        <a:pt x="705805" y="704850"/>
                        <a:pt x="517237" y="704850"/>
                      </a:cubicBezTo>
                      <a:cubicBezTo>
                        <a:pt x="517237" y="704850"/>
                        <a:pt x="517237" y="704850"/>
                        <a:pt x="482952" y="704850"/>
                      </a:cubicBezTo>
                      <a:cubicBezTo>
                        <a:pt x="482952" y="704850"/>
                        <a:pt x="482952" y="704850"/>
                        <a:pt x="448667" y="704850"/>
                      </a:cubicBezTo>
                      <a:cubicBezTo>
                        <a:pt x="448667" y="704850"/>
                        <a:pt x="448667" y="704850"/>
                        <a:pt x="415097" y="704850"/>
                      </a:cubicBezTo>
                      <a:cubicBezTo>
                        <a:pt x="415097" y="704850"/>
                        <a:pt x="415097" y="704850"/>
                        <a:pt x="195101" y="704850"/>
                      </a:cubicBezTo>
                      <a:cubicBezTo>
                        <a:pt x="186530" y="704850"/>
                        <a:pt x="179387" y="697634"/>
                        <a:pt x="179387" y="688975"/>
                      </a:cubicBezTo>
                      <a:cubicBezTo>
                        <a:pt x="179387" y="680316"/>
                        <a:pt x="186530" y="673100"/>
                        <a:pt x="195101" y="673100"/>
                      </a:cubicBezTo>
                      <a:close/>
                      <a:moveTo>
                        <a:pt x="1062037" y="579437"/>
                      </a:moveTo>
                      <a:cubicBezTo>
                        <a:pt x="1062037" y="580140"/>
                        <a:pt x="1062037" y="580844"/>
                        <a:pt x="1062037" y="581548"/>
                      </a:cubicBezTo>
                      <a:cubicBezTo>
                        <a:pt x="1059901" y="594211"/>
                        <a:pt x="1054204" y="620243"/>
                        <a:pt x="1034263" y="641349"/>
                      </a:cubicBezTo>
                      <a:cubicBezTo>
                        <a:pt x="1034263" y="641349"/>
                        <a:pt x="1034263" y="641349"/>
                        <a:pt x="985837" y="641349"/>
                      </a:cubicBezTo>
                      <a:cubicBezTo>
                        <a:pt x="987262" y="637831"/>
                        <a:pt x="990110" y="635721"/>
                        <a:pt x="992959" y="633610"/>
                      </a:cubicBezTo>
                      <a:cubicBezTo>
                        <a:pt x="1010762" y="625167"/>
                        <a:pt x="1020733" y="609689"/>
                        <a:pt x="1025718" y="596322"/>
                      </a:cubicBezTo>
                      <a:cubicBezTo>
                        <a:pt x="1025718" y="596322"/>
                        <a:pt x="1025718" y="596322"/>
                        <a:pt x="1062037" y="579437"/>
                      </a:cubicBezTo>
                      <a:close/>
                      <a:moveTo>
                        <a:pt x="381000" y="579437"/>
                      </a:moveTo>
                      <a:cubicBezTo>
                        <a:pt x="381000" y="579437"/>
                        <a:pt x="381000" y="579437"/>
                        <a:pt x="417320" y="596322"/>
                      </a:cubicBezTo>
                      <a:cubicBezTo>
                        <a:pt x="422305" y="609689"/>
                        <a:pt x="432275" y="625167"/>
                        <a:pt x="450079" y="633610"/>
                      </a:cubicBezTo>
                      <a:cubicBezTo>
                        <a:pt x="452927" y="635721"/>
                        <a:pt x="455776" y="637831"/>
                        <a:pt x="457200" y="641349"/>
                      </a:cubicBezTo>
                      <a:cubicBezTo>
                        <a:pt x="457200" y="641349"/>
                        <a:pt x="457200" y="641349"/>
                        <a:pt x="408774" y="641349"/>
                      </a:cubicBezTo>
                      <a:cubicBezTo>
                        <a:pt x="390258" y="621650"/>
                        <a:pt x="383849" y="597729"/>
                        <a:pt x="381000" y="582955"/>
                      </a:cubicBezTo>
                      <a:cubicBezTo>
                        <a:pt x="381000" y="582251"/>
                        <a:pt x="381000" y="580844"/>
                        <a:pt x="381000" y="579437"/>
                      </a:cubicBezTo>
                      <a:close/>
                      <a:moveTo>
                        <a:pt x="1355615" y="0"/>
                      </a:moveTo>
                      <a:cubicBezTo>
                        <a:pt x="1355615" y="0"/>
                        <a:pt x="1355615" y="0"/>
                        <a:pt x="1427273" y="0"/>
                      </a:cubicBezTo>
                      <a:cubicBezTo>
                        <a:pt x="1435872" y="0"/>
                        <a:pt x="1443038" y="6449"/>
                        <a:pt x="1443038" y="15765"/>
                      </a:cubicBezTo>
                      <a:cubicBezTo>
                        <a:pt x="1443038" y="15765"/>
                        <a:pt x="1443038" y="15765"/>
                        <a:pt x="1443038" y="87422"/>
                      </a:cubicBezTo>
                      <a:cubicBezTo>
                        <a:pt x="1443038" y="96021"/>
                        <a:pt x="1435872" y="103187"/>
                        <a:pt x="1427273" y="103187"/>
                      </a:cubicBezTo>
                      <a:cubicBezTo>
                        <a:pt x="1418674" y="103187"/>
                        <a:pt x="1411509" y="96021"/>
                        <a:pt x="1411509" y="87422"/>
                      </a:cubicBezTo>
                      <a:cubicBezTo>
                        <a:pt x="1411509" y="87422"/>
                        <a:pt x="1411509" y="87422"/>
                        <a:pt x="1411509" y="31529"/>
                      </a:cubicBezTo>
                      <a:cubicBezTo>
                        <a:pt x="1411509" y="31529"/>
                        <a:pt x="1411509" y="31529"/>
                        <a:pt x="1355615" y="31529"/>
                      </a:cubicBezTo>
                      <a:cubicBezTo>
                        <a:pt x="1347016" y="31529"/>
                        <a:pt x="1339850" y="24363"/>
                        <a:pt x="1339850" y="15765"/>
                      </a:cubicBezTo>
                      <a:cubicBezTo>
                        <a:pt x="1339850" y="6449"/>
                        <a:pt x="1347016" y="0"/>
                        <a:pt x="1355615" y="0"/>
                      </a:cubicBezTo>
                      <a:close/>
                      <a:moveTo>
                        <a:pt x="15765" y="0"/>
                      </a:moveTo>
                      <a:cubicBezTo>
                        <a:pt x="15765" y="0"/>
                        <a:pt x="15765" y="0"/>
                        <a:pt x="87423" y="0"/>
                      </a:cubicBezTo>
                      <a:cubicBezTo>
                        <a:pt x="96022" y="0"/>
                        <a:pt x="103188" y="6449"/>
                        <a:pt x="103188" y="15765"/>
                      </a:cubicBezTo>
                      <a:cubicBezTo>
                        <a:pt x="103188" y="24363"/>
                        <a:pt x="96022" y="31529"/>
                        <a:pt x="87423" y="31529"/>
                      </a:cubicBezTo>
                      <a:cubicBezTo>
                        <a:pt x="87423" y="31529"/>
                        <a:pt x="87423" y="31529"/>
                        <a:pt x="31529" y="31529"/>
                      </a:cubicBezTo>
                      <a:cubicBezTo>
                        <a:pt x="31529" y="31529"/>
                        <a:pt x="31529" y="31529"/>
                        <a:pt x="31529" y="87422"/>
                      </a:cubicBezTo>
                      <a:cubicBezTo>
                        <a:pt x="31529" y="96021"/>
                        <a:pt x="24364" y="103187"/>
                        <a:pt x="15765" y="103187"/>
                      </a:cubicBezTo>
                      <a:cubicBezTo>
                        <a:pt x="7166" y="103187"/>
                        <a:pt x="0" y="96021"/>
                        <a:pt x="0" y="87422"/>
                      </a:cubicBezTo>
                      <a:cubicBezTo>
                        <a:pt x="0" y="87422"/>
                        <a:pt x="0" y="87422"/>
                        <a:pt x="0" y="15765"/>
                      </a:cubicBezTo>
                      <a:cubicBezTo>
                        <a:pt x="0" y="6449"/>
                        <a:pt x="7166" y="0"/>
                        <a:pt x="1576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grpSp>
        <p:nvGrpSpPr>
          <p:cNvPr id="10" name="Group 9">
            <a:extLst>
              <a:ext uri="{FF2B5EF4-FFF2-40B4-BE49-F238E27FC236}">
                <a16:creationId xmlns:a16="http://schemas.microsoft.com/office/drawing/2014/main" id="{2AB5C20B-CAED-43A8-9737-517E5B7020B2}"/>
              </a:ext>
            </a:extLst>
          </p:cNvPr>
          <p:cNvGrpSpPr/>
          <p:nvPr/>
        </p:nvGrpSpPr>
        <p:grpSpPr>
          <a:xfrm>
            <a:off x="1" y="4028241"/>
            <a:ext cx="3361060" cy="738663"/>
            <a:chOff x="-1" y="4331084"/>
            <a:chExt cx="3361060" cy="738663"/>
          </a:xfrm>
        </p:grpSpPr>
        <p:sp>
          <p:nvSpPr>
            <p:cNvPr id="86" name="Rectangle: Top Corners Rounded 85">
              <a:extLst>
                <a:ext uri="{FF2B5EF4-FFF2-40B4-BE49-F238E27FC236}">
                  <a16:creationId xmlns:a16="http://schemas.microsoft.com/office/drawing/2014/main" id="{7AF2CDA3-0174-4AAC-8781-F47F68AD7B29}"/>
                </a:ext>
              </a:extLst>
            </p:cNvPr>
            <p:cNvSpPr/>
            <p:nvPr/>
          </p:nvSpPr>
          <p:spPr>
            <a:xfrm rot="5400000">
              <a:off x="1311197" y="3019886"/>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0" name="ee4pHeader1">
              <a:extLst>
                <a:ext uri="{FF2B5EF4-FFF2-40B4-BE49-F238E27FC236}">
                  <a16:creationId xmlns:a16="http://schemas.microsoft.com/office/drawing/2014/main" id="{EF97FBC2-2E30-4229-9D75-A356AE27C052}"/>
                </a:ext>
              </a:extLst>
            </p:cNvPr>
            <p:cNvSpPr txBox="1"/>
            <p:nvPr/>
          </p:nvSpPr>
          <p:spPr>
            <a:xfrm>
              <a:off x="288478" y="4423417"/>
              <a:ext cx="2923073" cy="553998"/>
            </a:xfrm>
            <a:prstGeom prst="rect">
              <a:avLst/>
            </a:prstGeom>
            <a:noFill/>
            <a:ln cap="rnd">
              <a:noFill/>
            </a:ln>
          </p:spPr>
          <p:txBody>
            <a:bodyPr vert="horz" wrap="square" lIns="640080" tIns="0" rIns="0" bIns="0" rtlCol="0" anchor="t" anchorCtr="0">
              <a:spAutoFit/>
            </a:bodyPr>
            <a:lstStyle/>
            <a:p>
              <a:pPr marL="0" lvl="3"/>
              <a:r>
                <a:rPr lang="en-US" dirty="0">
                  <a:solidFill>
                    <a:srgbClr val="FFFFFF"/>
                  </a:solidFill>
                  <a:cs typeface="Calibri" panose="020F0502020204030204" pitchFamily="34" charset="0"/>
                </a:rPr>
                <a:t>Examples of groups included</a:t>
              </a:r>
            </a:p>
          </p:txBody>
        </p:sp>
        <p:grpSp>
          <p:nvGrpSpPr>
            <p:cNvPr id="101" name="Group 100">
              <a:extLst>
                <a:ext uri="{FF2B5EF4-FFF2-40B4-BE49-F238E27FC236}">
                  <a16:creationId xmlns:a16="http://schemas.microsoft.com/office/drawing/2014/main" id="{4009F30D-384B-4632-AA6F-AE2499194516}"/>
                </a:ext>
              </a:extLst>
            </p:cNvPr>
            <p:cNvGrpSpPr>
              <a:grpSpLocks noChangeAspect="1"/>
            </p:cNvGrpSpPr>
            <p:nvPr/>
          </p:nvGrpSpPr>
          <p:grpSpPr>
            <a:xfrm>
              <a:off x="318694" y="4477229"/>
              <a:ext cx="446374" cy="446374"/>
              <a:chOff x="5273803" y="2606803"/>
              <a:chExt cx="1645920" cy="1645920"/>
            </a:xfrm>
          </p:grpSpPr>
          <p:sp>
            <p:nvSpPr>
              <p:cNvPr id="102" name="AutoShape 23">
                <a:extLst>
                  <a:ext uri="{FF2B5EF4-FFF2-40B4-BE49-F238E27FC236}">
                    <a16:creationId xmlns:a16="http://schemas.microsoft.com/office/drawing/2014/main" id="{04C55FE9-0F5B-4708-80F5-734194121116}"/>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3" name="Group 102">
                <a:extLst>
                  <a:ext uri="{FF2B5EF4-FFF2-40B4-BE49-F238E27FC236}">
                    <a16:creationId xmlns:a16="http://schemas.microsoft.com/office/drawing/2014/main" id="{B07F9EC5-3A38-4242-A9E1-96507F14DD81}"/>
                  </a:ext>
                </a:extLst>
              </p:cNvPr>
              <p:cNvGrpSpPr/>
              <p:nvPr/>
            </p:nvGrpSpPr>
            <p:grpSpPr>
              <a:xfrm>
                <a:off x="5484691" y="2758822"/>
                <a:ext cx="1224143" cy="1341882"/>
                <a:chOff x="5355525" y="2801969"/>
                <a:chExt cx="1522662" cy="1670659"/>
              </a:xfrm>
            </p:grpSpPr>
            <p:sp>
              <p:nvSpPr>
                <p:cNvPr id="104" name="Freeform 25">
                  <a:extLst>
                    <a:ext uri="{FF2B5EF4-FFF2-40B4-BE49-F238E27FC236}">
                      <a16:creationId xmlns:a16="http://schemas.microsoft.com/office/drawing/2014/main" id="{8A0B4826-79DC-4439-A1FB-66B8B5B26D6F}"/>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6">
                  <a:extLst>
                    <a:ext uri="{FF2B5EF4-FFF2-40B4-BE49-F238E27FC236}">
                      <a16:creationId xmlns:a16="http://schemas.microsoft.com/office/drawing/2014/main" id="{BAE75992-CD0C-4BA8-AC17-3501DDE4EA1D}"/>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112" name="Straight Connector 111">
            <a:extLst>
              <a:ext uri="{FF2B5EF4-FFF2-40B4-BE49-F238E27FC236}">
                <a16:creationId xmlns:a16="http://schemas.microsoft.com/office/drawing/2014/main" id="{C5766050-EB44-41E2-89F8-1182A6317D59}"/>
              </a:ext>
            </a:extLst>
          </p:cNvPr>
          <p:cNvCxnSpPr/>
          <p:nvPr/>
        </p:nvCxnSpPr>
        <p:spPr>
          <a:xfrm>
            <a:off x="3466916" y="3908470"/>
            <a:ext cx="8436607"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FB0E63FB-2934-4EDB-93D0-32F372838486}"/>
              </a:ext>
            </a:extLst>
          </p:cNvPr>
          <p:cNvCxnSpPr/>
          <p:nvPr/>
        </p:nvCxnSpPr>
        <p:spPr>
          <a:xfrm>
            <a:off x="3466914" y="2278360"/>
            <a:ext cx="8436607"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136767A-1CFC-4066-8C01-B86F0444FD96}"/>
              </a:ext>
            </a:extLst>
          </p:cNvPr>
          <p:cNvGrpSpPr/>
          <p:nvPr/>
        </p:nvGrpSpPr>
        <p:grpSpPr>
          <a:xfrm>
            <a:off x="-1" y="1445448"/>
            <a:ext cx="3361060" cy="738664"/>
            <a:chOff x="-1" y="1445448"/>
            <a:chExt cx="3361060" cy="738664"/>
          </a:xfrm>
        </p:grpSpPr>
        <p:sp>
          <p:nvSpPr>
            <p:cNvPr id="39" name="Rectangle: Top Corners Rounded 38">
              <a:extLst>
                <a:ext uri="{FF2B5EF4-FFF2-40B4-BE49-F238E27FC236}">
                  <a16:creationId xmlns:a16="http://schemas.microsoft.com/office/drawing/2014/main" id="{D8CA87E7-6612-41FA-9E45-B84963D20E49}"/>
                </a:ext>
              </a:extLst>
            </p:cNvPr>
            <p:cNvSpPr/>
            <p:nvPr/>
          </p:nvSpPr>
          <p:spPr>
            <a:xfrm rot="5400000">
              <a:off x="1311197" y="134250"/>
              <a:ext cx="738663" cy="3361060"/>
            </a:xfrm>
            <a:prstGeom prst="round2SameRect">
              <a:avLst>
                <a:gd name="adj1" fmla="val 50000"/>
                <a:gd name="adj2" fmla="val 0"/>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40" name="ee4pHeader1">
              <a:extLst>
                <a:ext uri="{FF2B5EF4-FFF2-40B4-BE49-F238E27FC236}">
                  <a16:creationId xmlns:a16="http://schemas.microsoft.com/office/drawing/2014/main" id="{7E569B32-F9F7-424D-9484-0534EC2DC3D8}"/>
                </a:ext>
              </a:extLst>
            </p:cNvPr>
            <p:cNvSpPr txBox="1"/>
            <p:nvPr/>
          </p:nvSpPr>
          <p:spPr>
            <a:xfrm>
              <a:off x="288478" y="1445448"/>
              <a:ext cx="2923073" cy="738664"/>
            </a:xfrm>
            <a:prstGeom prst="rect">
              <a:avLst/>
            </a:prstGeom>
            <a:noFill/>
            <a:ln cap="rnd">
              <a:noFill/>
            </a:ln>
          </p:spPr>
          <p:txBody>
            <a:bodyPr vert="horz" wrap="square" lIns="640080" tIns="0" rIns="0" bIns="0" rtlCol="0" anchor="ctr" anchorCtr="0">
              <a:noAutofit/>
            </a:bodyPr>
            <a:lstStyle/>
            <a:p>
              <a:pPr marL="0" lvl="3"/>
              <a:r>
                <a:rPr lang="en-US" dirty="0">
                  <a:solidFill>
                    <a:srgbClr val="FFFFFF"/>
                  </a:solidFill>
                  <a:latin typeface="+mj-lt"/>
                  <a:cs typeface="Calibri" panose="020F0502020204030204" pitchFamily="34" charset="0"/>
                </a:rPr>
                <a:t>Definition </a:t>
              </a:r>
            </a:p>
          </p:txBody>
        </p:sp>
      </p:grpSp>
      <p:grpSp>
        <p:nvGrpSpPr>
          <p:cNvPr id="41" name="Group 40">
            <a:extLst>
              <a:ext uri="{FF2B5EF4-FFF2-40B4-BE49-F238E27FC236}">
                <a16:creationId xmlns:a16="http://schemas.microsoft.com/office/drawing/2014/main" id="{976994CF-89D4-4340-9F68-4E640B70AB01}"/>
              </a:ext>
            </a:extLst>
          </p:cNvPr>
          <p:cNvGrpSpPr>
            <a:grpSpLocks noChangeAspect="1"/>
          </p:cNvGrpSpPr>
          <p:nvPr/>
        </p:nvGrpSpPr>
        <p:grpSpPr>
          <a:xfrm>
            <a:off x="318702" y="1591593"/>
            <a:ext cx="446806" cy="446374"/>
            <a:chOff x="5273675" y="2606675"/>
            <a:chExt cx="1646238" cy="1644650"/>
          </a:xfrm>
        </p:grpSpPr>
        <p:sp>
          <p:nvSpPr>
            <p:cNvPr id="42" name="AutoShape 3">
              <a:extLst>
                <a:ext uri="{FF2B5EF4-FFF2-40B4-BE49-F238E27FC236}">
                  <a16:creationId xmlns:a16="http://schemas.microsoft.com/office/drawing/2014/main" id="{C38E9CF8-EA2D-4A59-B530-673EE9FA146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4" name="Group 43">
              <a:extLst>
                <a:ext uri="{FF2B5EF4-FFF2-40B4-BE49-F238E27FC236}">
                  <a16:creationId xmlns:a16="http://schemas.microsoft.com/office/drawing/2014/main" id="{D2F4F71C-2665-4561-A8E4-15A098785859}"/>
                </a:ext>
              </a:extLst>
            </p:cNvPr>
            <p:cNvGrpSpPr/>
            <p:nvPr/>
          </p:nvGrpSpPr>
          <p:grpSpPr>
            <a:xfrm>
              <a:off x="5651500" y="2971800"/>
              <a:ext cx="892175" cy="1109663"/>
              <a:chOff x="5651500" y="2971800"/>
              <a:chExt cx="892175" cy="1109663"/>
            </a:xfrm>
          </p:grpSpPr>
          <p:sp>
            <p:nvSpPr>
              <p:cNvPr id="45" name="Freeform 20">
                <a:extLst>
                  <a:ext uri="{FF2B5EF4-FFF2-40B4-BE49-F238E27FC236}">
                    <a16:creationId xmlns:a16="http://schemas.microsoft.com/office/drawing/2014/main" id="{FCF3ED06-0AEB-4ECC-BDA7-AD046F4B8D19}"/>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7" name="Freeform 21">
                <a:extLst>
                  <a:ext uri="{FF2B5EF4-FFF2-40B4-BE49-F238E27FC236}">
                    <a16:creationId xmlns:a16="http://schemas.microsoft.com/office/drawing/2014/main" id="{464CD920-DF55-40B3-9DD2-DD02E9380E88}"/>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961977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STYLE_ID" val="3wQKW8nz"/>
  <p:tag name="EE4P_STYLE_NAME" val="Kansas Grid 16:9"/>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gViHieuEaO6oP2gQOB8g"/>
</p:tagLst>
</file>

<file path=ppt/tags/tag2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ZN6kRAXcHOyc1dKNAGzk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vdu8iBhqHzDbJEESEPp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lvdu8iBhqHzDbJEESEPpK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vdu8iBhqHzDbJEESEPp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lvdu8iBhqHzDbJEESEPpK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lvdu8iBhqHzDbJEESEPpK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vdu8iBhqHzDbJEESEPp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heme/theme1.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2.xml><?xml version="1.0" encoding="utf-8"?>
<a:theme xmlns:a="http://schemas.openxmlformats.org/drawingml/2006/main" name="1_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TotalTime>
  <Words>2043</Words>
  <Application>Microsoft Office PowerPoint</Application>
  <PresentationFormat>Widescreen</PresentationFormat>
  <Paragraphs>186</Paragraphs>
  <Slides>10</Slides>
  <Notes>3</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ariant>
        <vt:lpstr>Custom Shows</vt:lpstr>
      </vt:variant>
      <vt:variant>
        <vt:i4>1</vt:i4>
      </vt:variant>
    </vt:vector>
  </HeadingPairs>
  <TitlesOfParts>
    <vt:vector size="20" baseType="lpstr">
      <vt:lpstr>Arial</vt:lpstr>
      <vt:lpstr>Calibri</vt:lpstr>
      <vt:lpstr>Cambria</vt:lpstr>
      <vt:lpstr>Mangal</vt:lpstr>
      <vt:lpstr>Times New Roman</vt:lpstr>
      <vt:lpstr>Trebuchet MS</vt:lpstr>
      <vt:lpstr>Kansas Grid 16:9 - 12912</vt:lpstr>
      <vt:lpstr>1_Kansas Grid 16:9 - 12912</vt:lpstr>
      <vt:lpstr>think-cell Slide</vt:lpstr>
      <vt:lpstr>PowerPoint Presentation</vt:lpstr>
      <vt:lpstr>COVID-19 vaccination phases in Kansas</vt:lpstr>
      <vt:lpstr>Kansas Vaccination Phases | By Population</vt:lpstr>
      <vt:lpstr>KDHE adopted federal recommendations to assess exposure risks associated with workplaces and living arrangements</vt:lpstr>
      <vt:lpstr>Phase 1 | Healthcare workers: Identifying characteristics and working definition </vt:lpstr>
      <vt:lpstr>Phase 2 | High-contact critical1 workers: identifying characteristics and working definition </vt:lpstr>
      <vt:lpstr>Phase 2 | Congregate settings: identifying characteristics and working definition </vt:lpstr>
      <vt:lpstr>Phase 3 | Aged 16-64 with severe medical risks: identifying characteristics and working definition </vt:lpstr>
      <vt:lpstr>Phase 3 | Other critical workers1 : identifying characteristics and working definition </vt:lpstr>
      <vt:lpstr>Phase 4 | Aged 16-64 with other medical risks: identifying characteristics and working definition </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Kristi Zears</cp:lastModifiedBy>
  <cp:revision>787</cp:revision>
  <cp:lastPrinted>1999-12-31T18:30:00Z</cp:lastPrinted>
  <dcterms:created xsi:type="dcterms:W3CDTF">2020-12-29T05:59:09Z</dcterms:created>
  <dcterms:modified xsi:type="dcterms:W3CDTF">2021-03-15T18:2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